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346" r:id="rId5"/>
    <p:sldId id="10221" r:id="rId6"/>
    <p:sldId id="10222" r:id="rId7"/>
    <p:sldId id="1241" r:id="rId8"/>
    <p:sldId id="1240" r:id="rId9"/>
    <p:sldId id="10223" r:id="rId10"/>
    <p:sldId id="10224" r:id="rId11"/>
    <p:sldId id="10225" r:id="rId12"/>
    <p:sldId id="10226" r:id="rId13"/>
    <p:sldId id="1291" r:id="rId14"/>
    <p:sldId id="10227" r:id="rId15"/>
    <p:sldId id="268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25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D7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778" y="58"/>
      </p:cViewPr>
      <p:guideLst>
        <p:guide pos="3840"/>
        <p:guide orient="horz" pos="225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mazio, Sergio (SMO SWE RC-PT INNOV)" userId="f04f288d-9712-4bab-bbe4-baf93f4510d1" providerId="ADAL" clId="{2E117AEC-57FD-45A9-9F62-472A59F4138C}"/>
    <pc:docChg chg="undo custSel modSld">
      <pc:chgData name="Tomazio, Sergio (SMO SWE RC-PT INNOV)" userId="f04f288d-9712-4bab-bbe4-baf93f4510d1" providerId="ADAL" clId="{2E117AEC-57FD-45A9-9F62-472A59F4138C}" dt="2024-04-10T12:48:17.739" v="21" actId="20577"/>
      <pc:docMkLst>
        <pc:docMk/>
      </pc:docMkLst>
      <pc:sldChg chg="modSp mod">
        <pc:chgData name="Tomazio, Sergio (SMO SWE RC-PT INNOV)" userId="f04f288d-9712-4bab-bbe4-baf93f4510d1" providerId="ADAL" clId="{2E117AEC-57FD-45A9-9F62-472A59F4138C}" dt="2024-04-10T12:48:17.739" v="21" actId="20577"/>
        <pc:sldMkLst>
          <pc:docMk/>
          <pc:sldMk cId="3044083358" sldId="268"/>
        </pc:sldMkLst>
        <pc:spChg chg="mod">
          <ac:chgData name="Tomazio, Sergio (SMO SWE RC-PT INNOV)" userId="f04f288d-9712-4bab-bbe4-baf93f4510d1" providerId="ADAL" clId="{2E117AEC-57FD-45A9-9F62-472A59F4138C}" dt="2024-04-10T12:48:17.739" v="21" actId="20577"/>
          <ac:spMkLst>
            <pc:docMk/>
            <pc:sldMk cId="3044083358" sldId="268"/>
            <ac:spMk id="3" creationId="{A8C0B1B3-7902-4A0F-A274-1F5878B8197A}"/>
          </ac:spMkLst>
        </pc:spChg>
      </pc:sldChg>
      <pc:sldChg chg="modSp mod">
        <pc:chgData name="Tomazio, Sergio (SMO SWE RC-PT INNOV)" userId="f04f288d-9712-4bab-bbe4-baf93f4510d1" providerId="ADAL" clId="{2E117AEC-57FD-45A9-9F62-472A59F4138C}" dt="2024-04-10T12:29:32.384" v="1" actId="1076"/>
        <pc:sldMkLst>
          <pc:docMk/>
          <pc:sldMk cId="516832325" sldId="1241"/>
        </pc:sldMkLst>
        <pc:spChg chg="mod">
          <ac:chgData name="Tomazio, Sergio (SMO SWE RC-PT INNOV)" userId="f04f288d-9712-4bab-bbe4-baf93f4510d1" providerId="ADAL" clId="{2E117AEC-57FD-45A9-9F62-472A59F4138C}" dt="2024-04-10T12:29:26.799" v="0" actId="14100"/>
          <ac:spMkLst>
            <pc:docMk/>
            <pc:sldMk cId="516832325" sldId="1241"/>
            <ac:spMk id="4" creationId="{EAFF3659-D0A2-5FDC-31C5-91894412725E}"/>
          </ac:spMkLst>
        </pc:spChg>
        <pc:picChg chg="mod">
          <ac:chgData name="Tomazio, Sergio (SMO SWE RC-PT INNOV)" userId="f04f288d-9712-4bab-bbe4-baf93f4510d1" providerId="ADAL" clId="{2E117AEC-57FD-45A9-9F62-472A59F4138C}" dt="2024-04-10T12:29:32.384" v="1" actId="1076"/>
          <ac:picMkLst>
            <pc:docMk/>
            <pc:sldMk cId="516832325" sldId="1241"/>
            <ac:picMk id="18" creationId="{20E9C69D-8E23-8253-0E0E-1BB1E56C61CB}"/>
          </ac:picMkLst>
        </pc:picChg>
      </pc:sldChg>
      <pc:sldChg chg="modSp mod">
        <pc:chgData name="Tomazio, Sergio (SMO SWE RC-PT INNOV)" userId="f04f288d-9712-4bab-bbe4-baf93f4510d1" providerId="ADAL" clId="{2E117AEC-57FD-45A9-9F62-472A59F4138C}" dt="2024-04-10T12:30:00.400" v="3" actId="14100"/>
        <pc:sldMkLst>
          <pc:docMk/>
          <pc:sldMk cId="1150043695" sldId="10224"/>
        </pc:sldMkLst>
        <pc:spChg chg="mod">
          <ac:chgData name="Tomazio, Sergio (SMO SWE RC-PT INNOV)" userId="f04f288d-9712-4bab-bbe4-baf93f4510d1" providerId="ADAL" clId="{2E117AEC-57FD-45A9-9F62-472A59F4138C}" dt="2024-04-10T12:30:00.400" v="3" actId="14100"/>
          <ac:spMkLst>
            <pc:docMk/>
            <pc:sldMk cId="1150043695" sldId="10224"/>
            <ac:spMk id="3" creationId="{C6D930E6-CF3F-06DB-7517-72655508B608}"/>
          </ac:spMkLst>
        </pc:spChg>
        <pc:picChg chg="mod">
          <ac:chgData name="Tomazio, Sergio (SMO SWE RC-PT INNOV)" userId="f04f288d-9712-4bab-bbe4-baf93f4510d1" providerId="ADAL" clId="{2E117AEC-57FD-45A9-9F62-472A59F4138C}" dt="2024-04-10T12:29:54.040" v="2" actId="1076"/>
          <ac:picMkLst>
            <pc:docMk/>
            <pc:sldMk cId="1150043695" sldId="10224"/>
            <ac:picMk id="6" creationId="{55FAB691-149E-2CDC-4EBB-8CA03C395EAD}"/>
          </ac:picMkLst>
        </pc:picChg>
        <pc:picChg chg="mod">
          <ac:chgData name="Tomazio, Sergio (SMO SWE RC-PT INNOV)" userId="f04f288d-9712-4bab-bbe4-baf93f4510d1" providerId="ADAL" clId="{2E117AEC-57FD-45A9-9F62-472A59F4138C}" dt="2024-04-10T12:29:54.040" v="2" actId="1076"/>
          <ac:picMkLst>
            <pc:docMk/>
            <pc:sldMk cId="1150043695" sldId="10224"/>
            <ac:picMk id="8" creationId="{DC9F4325-B09A-1C94-5124-2C76F2F64F39}"/>
          </ac:picMkLst>
        </pc:picChg>
      </pc:sldChg>
      <pc:sldChg chg="modSp mod">
        <pc:chgData name="Tomazio, Sergio (SMO SWE RC-PT INNOV)" userId="f04f288d-9712-4bab-bbe4-baf93f4510d1" providerId="ADAL" clId="{2E117AEC-57FD-45A9-9F62-472A59F4138C}" dt="2024-04-10T12:30:30.335" v="8" actId="14100"/>
        <pc:sldMkLst>
          <pc:docMk/>
          <pc:sldMk cId="683828043" sldId="10225"/>
        </pc:sldMkLst>
        <pc:spChg chg="mod">
          <ac:chgData name="Tomazio, Sergio (SMO SWE RC-PT INNOV)" userId="f04f288d-9712-4bab-bbe4-baf93f4510d1" providerId="ADAL" clId="{2E117AEC-57FD-45A9-9F62-472A59F4138C}" dt="2024-04-10T12:30:30.335" v="8" actId="14100"/>
          <ac:spMkLst>
            <pc:docMk/>
            <pc:sldMk cId="683828043" sldId="10225"/>
            <ac:spMk id="7" creationId="{2183D0EB-96E8-BCC3-5886-BF7BFF07F840}"/>
          </ac:spMkLst>
        </pc:spChg>
        <pc:picChg chg="mod">
          <ac:chgData name="Tomazio, Sergio (SMO SWE RC-PT INNOV)" userId="f04f288d-9712-4bab-bbe4-baf93f4510d1" providerId="ADAL" clId="{2E117AEC-57FD-45A9-9F62-472A59F4138C}" dt="2024-04-10T12:30:21.233" v="7" actId="1076"/>
          <ac:picMkLst>
            <pc:docMk/>
            <pc:sldMk cId="683828043" sldId="10225"/>
            <ac:picMk id="3" creationId="{F62AB1AE-C493-5401-AF42-6C56CE4875D0}"/>
          </ac:picMkLst>
        </pc:picChg>
        <pc:picChg chg="mod">
          <ac:chgData name="Tomazio, Sergio (SMO SWE RC-PT INNOV)" userId="f04f288d-9712-4bab-bbe4-baf93f4510d1" providerId="ADAL" clId="{2E117AEC-57FD-45A9-9F62-472A59F4138C}" dt="2024-04-10T12:30:21.233" v="7" actId="1076"/>
          <ac:picMkLst>
            <pc:docMk/>
            <pc:sldMk cId="683828043" sldId="10225"/>
            <ac:picMk id="5" creationId="{51838B9D-38FB-9D5E-F9FE-19D9BB464E8B}"/>
          </ac:picMkLst>
        </pc:picChg>
      </pc:sldChg>
      <pc:sldChg chg="modSp mod">
        <pc:chgData name="Tomazio, Sergio (SMO SWE RC-PT INNOV)" userId="f04f288d-9712-4bab-bbe4-baf93f4510d1" providerId="ADAL" clId="{2E117AEC-57FD-45A9-9F62-472A59F4138C}" dt="2024-04-10T12:31:06.726" v="14" actId="1076"/>
        <pc:sldMkLst>
          <pc:docMk/>
          <pc:sldMk cId="1316575532" sldId="10226"/>
        </pc:sldMkLst>
        <pc:spChg chg="mod">
          <ac:chgData name="Tomazio, Sergio (SMO SWE RC-PT INNOV)" userId="f04f288d-9712-4bab-bbe4-baf93f4510d1" providerId="ADAL" clId="{2E117AEC-57FD-45A9-9F62-472A59F4138C}" dt="2024-04-10T12:31:02.005" v="13" actId="1076"/>
          <ac:spMkLst>
            <pc:docMk/>
            <pc:sldMk cId="1316575532" sldId="10226"/>
            <ac:spMk id="14" creationId="{3EDCCA69-541A-771A-2AD2-DAB2E2428015}"/>
          </ac:spMkLst>
        </pc:spChg>
        <pc:picChg chg="mod">
          <ac:chgData name="Tomazio, Sergio (SMO SWE RC-PT INNOV)" userId="f04f288d-9712-4bab-bbe4-baf93f4510d1" providerId="ADAL" clId="{2E117AEC-57FD-45A9-9F62-472A59F4138C}" dt="2024-04-10T12:31:06.726" v="14" actId="1076"/>
          <ac:picMkLst>
            <pc:docMk/>
            <pc:sldMk cId="1316575532" sldId="10226"/>
            <ac:picMk id="9" creationId="{EE50980A-0CEF-24D0-D66F-90687F5D1A36}"/>
          </ac:picMkLst>
        </pc:picChg>
        <pc:picChg chg="mod">
          <ac:chgData name="Tomazio, Sergio (SMO SWE RC-PT INNOV)" userId="f04f288d-9712-4bab-bbe4-baf93f4510d1" providerId="ADAL" clId="{2E117AEC-57FD-45A9-9F62-472A59F4138C}" dt="2024-04-10T12:31:06.726" v="14" actId="1076"/>
          <ac:picMkLst>
            <pc:docMk/>
            <pc:sldMk cId="1316575532" sldId="10226"/>
            <ac:picMk id="11" creationId="{05862086-3D68-B8D6-01E9-2D1077DE6FA5}"/>
          </ac:picMkLst>
        </pc:picChg>
        <pc:picChg chg="mod">
          <ac:chgData name="Tomazio, Sergio (SMO SWE RC-PT INNOV)" userId="f04f288d-9712-4bab-bbe4-baf93f4510d1" providerId="ADAL" clId="{2E117AEC-57FD-45A9-9F62-472A59F4138C}" dt="2024-04-10T12:31:06.726" v="14" actId="1076"/>
          <ac:picMkLst>
            <pc:docMk/>
            <pc:sldMk cId="1316575532" sldId="10226"/>
            <ac:picMk id="13" creationId="{F05947FF-1D23-771C-F698-431812CA8597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/>
              <a:t>10-Apr-24</a:t>
            </a:fld>
            <a:endParaRPr lang="en-US" sz="105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>
                <a:solidFill>
                  <a:schemeClr val="accent2"/>
                </a:solidFill>
              </a:rPr>
              <a:t>Hand out</a:t>
            </a:r>
            <a:r>
              <a:rPr lang="en-US" sz="105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en-US" sz="1050" smtClean="0"/>
              <a:t>‹#›</a:t>
            </a:fld>
            <a:endParaRPr lang="en-US" sz="1050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en-US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fld id="{76FBC1AF-E4C9-412F-9B6D-66CD520F95DB}" type="datetimeFigureOut">
              <a:rPr lang="en-US" smtClean="0"/>
              <a:pPr/>
              <a:t>10-Apr-24</a:t>
            </a:fld>
            <a:endParaRPr lang="en-US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US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950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A12634-609A-A2C9-8B97-244455B509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0B6FE5-4FD6-628C-3230-F8955B4924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5868BB-655E-FC6E-E1D3-EF7BA3BB46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B069F9-AAFE-178B-690D-FEBDB5DA2C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7344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5311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5238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7973EF-99E9-45B9-085A-50E26FB098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C4FA90-FE1D-CA25-49C6-3112A9F5C51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E33EECA-9813-6381-C4FA-7B382434C5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B1639B-A5F5-964A-0181-EA0D1C3C8B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0279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FF7464-C66E-4CF4-ABF1-62C7909017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469634-310A-3061-40E0-9ED1431B36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7C1F70-578B-4D66-1DFE-B6315F570B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699F09-7E00-7DFC-1A44-4E9B1C2B9F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932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1BEBA7-ECAF-FADD-5A7D-9C6F38376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46D209-41BE-8BB1-A345-1854653B11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B2EEA30-8804-2BD7-D139-919305C5B1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358FB9-3754-F60D-0D0E-F34EC47F05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470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EFD10B-F53F-8898-0CAE-6E06466E5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3A107C-77E5-6533-A8D5-1B314E763F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3EF26A-5597-E6D0-78AF-584C77E25C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3BC5E1-6A5A-A95C-1EFD-8A96DE155F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0186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EEB592-F931-396F-C981-212E326532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6FFE92A-5930-EA56-B0C5-B56279B02F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297420-04B1-619C-05A7-6692E4F78B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D3F401-4936-081E-CDA4-0CAE5AE1C1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41458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25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6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89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11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9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4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73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25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86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 | © Siemens Mobility GmbH 2021 | March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 | © Siemens Mobility GmbH 2021 | March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 | © Siemens Mobility GmbH 2021 | March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 | © Siemens Mobility GmbH 2021 | March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 | © Siemens Mobility GmbH 2021 | March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 | © Siemens Mobility GmbH 2021 | March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23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626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91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812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91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610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r>
              <a:rPr lang="de-DE"/>
              <a:t>Tabelle durch Klicken auf Symbol hinzufügen</a:t>
            </a:r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2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33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 | © Siemens Mobility GmbH 2021 | March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8510FF8-742C-4E01-80A2-343D7D8A20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3722357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7" imgW="306" imgH="306" progId="TCLayout.ActiveDocument.1">
                  <p:embed/>
                </p:oleObj>
              </mc:Choice>
              <mc:Fallback>
                <p:oleObj name="think-cell Folie" r:id="rId57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8510FF8-742C-4E01-80A2-343D7D8A20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 | © Siemens Mobility GmbH 2021 | March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48" r:id="rId19"/>
    <p:sldLayoutId id="2147483749" r:id="rId20"/>
    <p:sldLayoutId id="2147483750" r:id="rId21"/>
    <p:sldLayoutId id="2147483745" r:id="rId22"/>
    <p:sldLayoutId id="2147483746" r:id="rId23"/>
    <p:sldLayoutId id="2147483747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4" r:id="rId31"/>
    <p:sldLayoutId id="2147483708" r:id="rId32"/>
    <p:sldLayoutId id="2147483655" r:id="rId33"/>
    <p:sldLayoutId id="2147483742" r:id="rId34"/>
    <p:sldLayoutId id="2147483677" r:id="rId35"/>
    <p:sldLayoutId id="2147483709" r:id="rId36"/>
    <p:sldLayoutId id="2147483751" r:id="rId37"/>
    <p:sldLayoutId id="2147483691" r:id="rId38"/>
    <p:sldLayoutId id="2147483752" r:id="rId39"/>
    <p:sldLayoutId id="2147483692" r:id="rId40"/>
    <p:sldLayoutId id="2147483650" r:id="rId41"/>
    <p:sldLayoutId id="2147483665" r:id="rId42"/>
    <p:sldLayoutId id="2147483666" r:id="rId43"/>
    <p:sldLayoutId id="2147483697" r:id="rId44"/>
    <p:sldLayoutId id="2147483698" r:id="rId45"/>
    <p:sldLayoutId id="2147483652" r:id="rId46"/>
    <p:sldLayoutId id="2147483680" r:id="rId47"/>
    <p:sldLayoutId id="2147483694" r:id="rId48"/>
    <p:sldLayoutId id="2147483687" r:id="rId49"/>
    <p:sldLayoutId id="2147483681" r:id="rId50"/>
    <p:sldLayoutId id="2147483690" r:id="rId51"/>
    <p:sldLayoutId id="2147483711" r:id="rId52"/>
    <p:sldLayoutId id="2147483682" r:id="rId53"/>
    <p:sldLayoutId id="2147483678" r:id="rId5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4.xml"/><Relationship Id="rId5" Type="http://schemas.openxmlformats.org/officeDocument/2006/relationships/hyperlink" Target="mailto:joao.tereso@siemens.com" TargetMode="Externa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3.xml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6.jpeg"/><Relationship Id="rId11" Type="http://schemas.openxmlformats.org/officeDocument/2006/relationships/image" Target="../media/image41.png"/><Relationship Id="rId5" Type="http://schemas.openxmlformats.org/officeDocument/2006/relationships/image" Target="../media/image35.jpeg"/><Relationship Id="rId10" Type="http://schemas.openxmlformats.org/officeDocument/2006/relationships/image" Target="../media/image40.jpeg"/><Relationship Id="rId4" Type="http://schemas.openxmlformats.org/officeDocument/2006/relationships/image" Target="../media/image34.jpeg"/><Relationship Id="rId9" Type="http://schemas.openxmlformats.org/officeDocument/2006/relationships/image" Target="../media/image3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4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4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ção da Imagem 4">
            <a:extLst>
              <a:ext uri="{FF2B5EF4-FFF2-40B4-BE49-F238E27FC236}">
                <a16:creationId xmlns:a16="http://schemas.microsoft.com/office/drawing/2014/main" id="{CA37D4DA-B638-4149-B372-095CB59BE36D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73800"/>
            <a:ext cx="12192000" cy="3502800"/>
          </a:xfrm>
        </p:spPr>
      </p:pic>
      <p:sp>
        <p:nvSpPr>
          <p:cNvPr id="6" name="Title">
            <a:extLst>
              <a:ext uri="{FF2B5EF4-FFF2-40B4-BE49-F238E27FC236}">
                <a16:creationId xmlns:a16="http://schemas.microsoft.com/office/drawing/2014/main" id="{DA865AB3-8AE0-4AB0-94C2-2E517EC147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1" y="3780000"/>
            <a:ext cx="11452736" cy="1477328"/>
          </a:xfrm>
        </p:spPr>
        <p:txBody>
          <a:bodyPr/>
          <a:lstStyle/>
          <a:p>
            <a:r>
              <a:rPr lang="en-US" dirty="0" err="1"/>
              <a:t>Seminário</a:t>
            </a:r>
            <a:r>
              <a:rPr lang="en-US" dirty="0"/>
              <a:t> </a:t>
            </a:r>
            <a:r>
              <a:rPr lang="en-US" dirty="0" err="1"/>
              <a:t>Ferrovias</a:t>
            </a:r>
            <a:br>
              <a:rPr lang="en-US" dirty="0"/>
            </a:br>
            <a:r>
              <a:rPr lang="en-US" b="0" dirty="0" err="1"/>
              <a:t>Gestão</a:t>
            </a:r>
            <a:r>
              <a:rPr lang="en-US" b="0" dirty="0"/>
              <a:t> de </a:t>
            </a:r>
            <a:r>
              <a:rPr lang="en-US" b="0" dirty="0" err="1"/>
              <a:t>Obsolescência</a:t>
            </a:r>
            <a:r>
              <a:rPr lang="en-US" b="0" dirty="0"/>
              <a:t> Siemens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9F1C4C08-3D5C-4C0E-914A-F70CA07D065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1"/>
            <a:r>
              <a:rPr lang="pt-PT"/>
              <a:t>Uma solução sustentável para extensão da vida útil de material circulant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8FDA17C2-CC0D-4A70-A1C4-4DAA44F647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Unrestricted | © Siemens 2024 | Customer Services |  Abril 2024</a:t>
            </a:r>
          </a:p>
        </p:txBody>
      </p:sp>
    </p:spTree>
    <p:extLst>
      <p:ext uri="{BB962C8B-B14F-4D97-AF65-F5344CB8AC3E}">
        <p14:creationId xmlns:p14="http://schemas.microsoft.com/office/powerpoint/2010/main" val="23820297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800" name="Title 161799" descr="Slide headlin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BAS 16 | </a:t>
            </a:r>
            <a:r>
              <a:rPr lang="en-US" dirty="0" err="1"/>
              <a:t>Oferta</a:t>
            </a:r>
            <a:r>
              <a:rPr lang="en-US" dirty="0"/>
              <a:t> de valor</a:t>
            </a:r>
          </a:p>
        </p:txBody>
      </p:sp>
      <p:grpSp>
        <p:nvGrpSpPr>
          <p:cNvPr id="2" name="Gruppieren 1" descr="Radial diagram wheel">
            <a:extLst>
              <a:ext uri="{FF2B5EF4-FFF2-40B4-BE49-F238E27FC236}">
                <a16:creationId xmlns:a16="http://schemas.microsoft.com/office/drawing/2014/main" id="{153FABE8-051B-4A76-8C99-9D33859DD2EA}"/>
              </a:ext>
            </a:extLst>
          </p:cNvPr>
          <p:cNvGrpSpPr/>
          <p:nvPr/>
        </p:nvGrpSpPr>
        <p:grpSpPr>
          <a:xfrm>
            <a:off x="4046458" y="1667717"/>
            <a:ext cx="3815386" cy="3814014"/>
            <a:chOff x="4176265" y="1692464"/>
            <a:chExt cx="3817373" cy="3816000"/>
          </a:xfrm>
        </p:grpSpPr>
        <p:sp>
          <p:nvSpPr>
            <p:cNvPr id="201" name="Freeform 200"/>
            <p:cNvSpPr/>
            <p:nvPr/>
          </p:nvSpPr>
          <p:spPr bwMode="auto">
            <a:xfrm>
              <a:off x="5918192" y="1692464"/>
              <a:ext cx="2075446" cy="3816000"/>
            </a:xfrm>
            <a:custGeom>
              <a:avLst/>
              <a:gdLst>
                <a:gd name="connsiteX0" fmla="*/ 187922 w 2056156"/>
                <a:gd name="connsiteY0" fmla="*/ 0 h 3780533"/>
                <a:gd name="connsiteX1" fmla="*/ 358646 w 2056156"/>
                <a:gd name="connsiteY1" fmla="*/ 8621 h 3780533"/>
                <a:gd name="connsiteX2" fmla="*/ 2056156 w 2056156"/>
                <a:gd name="connsiteY2" fmla="*/ 1889696 h 3780533"/>
                <a:gd name="connsiteX3" fmla="*/ 165319 w 2056156"/>
                <a:gd name="connsiteY3" fmla="*/ 3780533 h 3780533"/>
                <a:gd name="connsiteX4" fmla="*/ 142259 w 2056156"/>
                <a:gd name="connsiteY4" fmla="*/ 3779369 h 3780533"/>
                <a:gd name="connsiteX5" fmla="*/ 0 w 2056156"/>
                <a:gd name="connsiteY5" fmla="*/ 3418865 h 3780533"/>
                <a:gd name="connsiteX6" fmla="*/ 151777 w 2056156"/>
                <a:gd name="connsiteY6" fmla="*/ 3062816 h 3780533"/>
                <a:gd name="connsiteX7" fmla="*/ 151233 w 2056156"/>
                <a:gd name="connsiteY7" fmla="*/ 3061648 h 3780533"/>
                <a:gd name="connsiteX8" fmla="*/ 165319 w 2056156"/>
                <a:gd name="connsiteY8" fmla="*/ 3062359 h 3780533"/>
                <a:gd name="connsiteX9" fmla="*/ 1337982 w 2056156"/>
                <a:gd name="connsiteY9" fmla="*/ 1889696 h 3780533"/>
                <a:gd name="connsiteX10" fmla="*/ 285217 w 2056156"/>
                <a:gd name="connsiteY10" fmla="*/ 723088 h 3780533"/>
                <a:gd name="connsiteX11" fmla="*/ 178863 w 2056156"/>
                <a:gd name="connsiteY11" fmla="*/ 717717 h 3780533"/>
                <a:gd name="connsiteX12" fmla="*/ 330640 w 2056156"/>
                <a:gd name="connsiteY12" fmla="*/ 361668 h 3780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56156" h="3780533">
                  <a:moveTo>
                    <a:pt x="187922" y="0"/>
                  </a:moveTo>
                  <a:lnTo>
                    <a:pt x="358646" y="8621"/>
                  </a:lnTo>
                  <a:cubicBezTo>
                    <a:pt x="1312112" y="105451"/>
                    <a:pt x="2056156" y="910684"/>
                    <a:pt x="2056156" y="1889696"/>
                  </a:cubicBezTo>
                  <a:cubicBezTo>
                    <a:pt x="2056156" y="2933976"/>
                    <a:pt x="1209599" y="3780533"/>
                    <a:pt x="165319" y="3780533"/>
                  </a:cubicBezTo>
                  <a:lnTo>
                    <a:pt x="142259" y="3779369"/>
                  </a:lnTo>
                  <a:lnTo>
                    <a:pt x="0" y="3418865"/>
                  </a:lnTo>
                  <a:lnTo>
                    <a:pt x="151777" y="3062816"/>
                  </a:lnTo>
                  <a:lnTo>
                    <a:pt x="151233" y="3061648"/>
                  </a:lnTo>
                  <a:lnTo>
                    <a:pt x="165319" y="3062359"/>
                  </a:lnTo>
                  <a:cubicBezTo>
                    <a:pt x="812963" y="3062359"/>
                    <a:pt x="1337982" y="2537340"/>
                    <a:pt x="1337982" y="1889696"/>
                  </a:cubicBezTo>
                  <a:cubicBezTo>
                    <a:pt x="1337982" y="1282530"/>
                    <a:pt x="876540" y="783140"/>
                    <a:pt x="285217" y="723088"/>
                  </a:cubicBezTo>
                  <a:lnTo>
                    <a:pt x="178863" y="717717"/>
                  </a:lnTo>
                  <a:lnTo>
                    <a:pt x="330640" y="361668"/>
                  </a:lnTo>
                  <a:close/>
                </a:path>
              </a:pathLst>
            </a:custGeom>
            <a:solidFill>
              <a:srgbClr val="00AF8E"/>
            </a:solidFill>
            <a:ln w="38100">
              <a:solidFill>
                <a:schemeClr val="bg2"/>
              </a:solidFill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 dirty="0"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02" name="Freeform 201"/>
            <p:cNvSpPr/>
            <p:nvPr/>
          </p:nvSpPr>
          <p:spPr bwMode="auto">
            <a:xfrm rot="10800000">
              <a:off x="4176265" y="1692464"/>
              <a:ext cx="2075446" cy="3816000"/>
            </a:xfrm>
            <a:custGeom>
              <a:avLst/>
              <a:gdLst>
                <a:gd name="connsiteX0" fmla="*/ 187922 w 2056156"/>
                <a:gd name="connsiteY0" fmla="*/ 0 h 3780533"/>
                <a:gd name="connsiteX1" fmla="*/ 358646 w 2056156"/>
                <a:gd name="connsiteY1" fmla="*/ 8621 h 3780533"/>
                <a:gd name="connsiteX2" fmla="*/ 2056156 w 2056156"/>
                <a:gd name="connsiteY2" fmla="*/ 1889696 h 3780533"/>
                <a:gd name="connsiteX3" fmla="*/ 165319 w 2056156"/>
                <a:gd name="connsiteY3" fmla="*/ 3780533 h 3780533"/>
                <a:gd name="connsiteX4" fmla="*/ 142259 w 2056156"/>
                <a:gd name="connsiteY4" fmla="*/ 3779369 h 3780533"/>
                <a:gd name="connsiteX5" fmla="*/ 0 w 2056156"/>
                <a:gd name="connsiteY5" fmla="*/ 3418865 h 3780533"/>
                <a:gd name="connsiteX6" fmla="*/ 151777 w 2056156"/>
                <a:gd name="connsiteY6" fmla="*/ 3062816 h 3780533"/>
                <a:gd name="connsiteX7" fmla="*/ 151233 w 2056156"/>
                <a:gd name="connsiteY7" fmla="*/ 3061648 h 3780533"/>
                <a:gd name="connsiteX8" fmla="*/ 165319 w 2056156"/>
                <a:gd name="connsiteY8" fmla="*/ 3062359 h 3780533"/>
                <a:gd name="connsiteX9" fmla="*/ 1337982 w 2056156"/>
                <a:gd name="connsiteY9" fmla="*/ 1889696 h 3780533"/>
                <a:gd name="connsiteX10" fmla="*/ 285217 w 2056156"/>
                <a:gd name="connsiteY10" fmla="*/ 723088 h 3780533"/>
                <a:gd name="connsiteX11" fmla="*/ 178863 w 2056156"/>
                <a:gd name="connsiteY11" fmla="*/ 717717 h 3780533"/>
                <a:gd name="connsiteX12" fmla="*/ 330640 w 2056156"/>
                <a:gd name="connsiteY12" fmla="*/ 361668 h 3780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56156" h="3780533">
                  <a:moveTo>
                    <a:pt x="187922" y="0"/>
                  </a:moveTo>
                  <a:lnTo>
                    <a:pt x="358646" y="8621"/>
                  </a:lnTo>
                  <a:cubicBezTo>
                    <a:pt x="1312112" y="105451"/>
                    <a:pt x="2056156" y="910684"/>
                    <a:pt x="2056156" y="1889696"/>
                  </a:cubicBezTo>
                  <a:cubicBezTo>
                    <a:pt x="2056156" y="2933976"/>
                    <a:pt x="1209599" y="3780533"/>
                    <a:pt x="165319" y="3780533"/>
                  </a:cubicBezTo>
                  <a:lnTo>
                    <a:pt x="142259" y="3779369"/>
                  </a:lnTo>
                  <a:lnTo>
                    <a:pt x="0" y="3418865"/>
                  </a:lnTo>
                  <a:lnTo>
                    <a:pt x="151777" y="3062816"/>
                  </a:lnTo>
                  <a:lnTo>
                    <a:pt x="151233" y="3061648"/>
                  </a:lnTo>
                  <a:lnTo>
                    <a:pt x="165319" y="3062359"/>
                  </a:lnTo>
                  <a:cubicBezTo>
                    <a:pt x="812963" y="3062359"/>
                    <a:pt x="1337982" y="2537340"/>
                    <a:pt x="1337982" y="1889696"/>
                  </a:cubicBezTo>
                  <a:cubicBezTo>
                    <a:pt x="1337982" y="1282530"/>
                    <a:pt x="876540" y="783140"/>
                    <a:pt x="285217" y="723088"/>
                  </a:cubicBezTo>
                  <a:lnTo>
                    <a:pt x="178863" y="717717"/>
                  </a:lnTo>
                  <a:lnTo>
                    <a:pt x="330640" y="361668"/>
                  </a:lnTo>
                  <a:close/>
                </a:path>
              </a:pathLst>
            </a:custGeom>
            <a:solidFill>
              <a:srgbClr val="66667E"/>
            </a:solidFill>
            <a:ln w="38100">
              <a:solidFill>
                <a:schemeClr val="bg2"/>
              </a:solidFill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 dirty="0"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06" name="Rechteck 28" descr="Sample content"/>
          <p:cNvSpPr/>
          <p:nvPr/>
        </p:nvSpPr>
        <p:spPr bwMode="gray">
          <a:xfrm>
            <a:off x="270183" y="1116292"/>
            <a:ext cx="3541050" cy="5136314"/>
          </a:xfrm>
          <a:prstGeom prst="rect">
            <a:avLst/>
          </a:prstGeom>
          <a:noFill/>
          <a:ln w="19050">
            <a:solidFill>
              <a:schemeClr val="accent2"/>
            </a:solidFill>
            <a:miter lim="800000"/>
          </a:ln>
          <a:effectLst/>
        </p:spPr>
        <p:txBody>
          <a:bodyPr wrap="square" lIns="143925" tIns="0" rIns="143925" bIns="0" numCol="1" spcCol="72000" rtlCol="0" anchor="t" anchorCtr="0">
            <a:noAutofit/>
          </a:bodyPr>
          <a:lstStyle/>
          <a:p>
            <a:pPr marL="0" lvl="1" indent="0">
              <a:buClrTx/>
              <a:buNone/>
            </a:pPr>
            <a:endParaRPr lang="pt-PT" sz="1600" b="1" dirty="0">
              <a:solidFill>
                <a:srgbClr val="A6CA56"/>
              </a:solidFill>
            </a:endParaRPr>
          </a:p>
          <a:p>
            <a:pPr marL="0" lvl="1" indent="0">
              <a:buClrTx/>
              <a:buNone/>
            </a:pPr>
            <a:r>
              <a:rPr lang="pt-PT" sz="1600" b="1" dirty="0">
                <a:solidFill>
                  <a:schemeClr val="accent1"/>
                </a:solidFill>
              </a:rPr>
              <a:t>Benefícios:</a:t>
            </a:r>
          </a:p>
          <a:p>
            <a:endParaRPr lang="pt-PT" sz="1600" b="1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  <a:p>
            <a:pPr marL="742950" lvl="1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Rápido ciclo de desenvolvimento </a:t>
            </a:r>
            <a:br>
              <a:rPr lang="pt-PT" sz="1400" dirty="0"/>
            </a:br>
            <a:r>
              <a:rPr lang="pt-PT" sz="1400" dirty="0"/>
              <a:t>(3 – 9 meses);</a:t>
            </a:r>
          </a:p>
          <a:p>
            <a:pPr marL="742950" lvl="1" indent="-285750">
              <a:buClrTx/>
              <a:buFont typeface="Wingdings" panose="05000000000000000000" pitchFamily="2" charset="2"/>
              <a:buChar char="§"/>
            </a:pPr>
            <a:endParaRPr lang="pt-PT" sz="1400" dirty="0"/>
          </a:p>
          <a:p>
            <a:pPr marL="742950" lvl="1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Rápido ciclo de produção (3 meses)</a:t>
            </a:r>
          </a:p>
          <a:p>
            <a:pPr marL="742950" lvl="1" indent="-285750">
              <a:buClrTx/>
              <a:buFont typeface="Wingdings" panose="05000000000000000000" pitchFamily="2" charset="2"/>
              <a:buChar char="§"/>
            </a:pPr>
            <a:endParaRPr lang="pt-PT" sz="1400" dirty="0"/>
          </a:p>
          <a:p>
            <a:pPr marL="742950" lvl="1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Preço competitivo para extensão de vida de 10-15 anos;</a:t>
            </a:r>
          </a:p>
          <a:p>
            <a:pPr marL="742950" lvl="1" indent="-285750">
              <a:buClrTx/>
              <a:buFont typeface="Wingdings" panose="05000000000000000000" pitchFamily="2" charset="2"/>
              <a:buChar char="§"/>
            </a:pPr>
            <a:endParaRPr lang="pt-PT" sz="1400" dirty="0"/>
          </a:p>
          <a:p>
            <a:pPr marL="742950" lvl="1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100% compatível com restante sistema instalado;</a:t>
            </a:r>
          </a:p>
          <a:p>
            <a:pPr marL="742950" lvl="1" indent="-285750">
              <a:buClrTx/>
              <a:buFont typeface="Wingdings" panose="05000000000000000000" pitchFamily="2" charset="2"/>
              <a:buChar char="§"/>
            </a:pPr>
            <a:endParaRPr lang="pt-PT" sz="1400" dirty="0"/>
          </a:p>
          <a:p>
            <a:pPr marL="742950" lvl="1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Solução certificada pelo fabricante;</a:t>
            </a:r>
          </a:p>
          <a:p>
            <a:pPr marL="742950" lvl="1" indent="-285750">
              <a:buClrTx/>
              <a:buFont typeface="Wingdings" panose="05000000000000000000" pitchFamily="2" charset="2"/>
              <a:buChar char="§"/>
            </a:pPr>
            <a:endParaRPr lang="pt-PT" sz="1400" dirty="0"/>
          </a:p>
          <a:p>
            <a:pPr marL="742950" lvl="1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100% de acordo com normas ferroviárias.</a:t>
            </a:r>
          </a:p>
        </p:txBody>
      </p:sp>
      <p:sp>
        <p:nvSpPr>
          <p:cNvPr id="10" name="Freihandform 85">
            <a:extLst>
              <a:ext uri="{FF2B5EF4-FFF2-40B4-BE49-F238E27FC236}">
                <a16:creationId xmlns:a16="http://schemas.microsoft.com/office/drawing/2014/main" id="{309DD962-068E-4C37-8E61-B0CF5226BC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 flipH="1">
            <a:off x="7622869" y="2572756"/>
            <a:ext cx="477950" cy="119488"/>
          </a:xfrm>
          <a:custGeom>
            <a:avLst/>
            <a:gdLst>
              <a:gd name="connsiteX0" fmla="*/ 1716505 w 1716505"/>
              <a:gd name="connsiteY0" fmla="*/ 1002631 h 1002631"/>
              <a:gd name="connsiteX1" fmla="*/ 713874 w 1716505"/>
              <a:gd name="connsiteY1" fmla="*/ 0 h 1002631"/>
              <a:gd name="connsiteX2" fmla="*/ 0 w 1716505"/>
              <a:gd name="connsiteY2" fmla="*/ 0 h 1002631"/>
              <a:gd name="connsiteX0" fmla="*/ 1716505 w 1716505"/>
              <a:gd name="connsiteY0" fmla="*/ 1002631 h 1002631"/>
              <a:gd name="connsiteX1" fmla="*/ 1034716 w 1716505"/>
              <a:gd name="connsiteY1" fmla="*/ 320842 h 1002631"/>
              <a:gd name="connsiteX2" fmla="*/ 713874 w 1716505"/>
              <a:gd name="connsiteY2" fmla="*/ 0 h 1002631"/>
              <a:gd name="connsiteX3" fmla="*/ 0 w 1716505"/>
              <a:gd name="connsiteY3" fmla="*/ 0 h 1002631"/>
              <a:gd name="connsiteX0" fmla="*/ 1034716 w 1034716"/>
              <a:gd name="connsiteY0" fmla="*/ 320842 h 320842"/>
              <a:gd name="connsiteX1" fmla="*/ 713874 w 1034716"/>
              <a:gd name="connsiteY1" fmla="*/ 0 h 320842"/>
              <a:gd name="connsiteX2" fmla="*/ 0 w 1034716"/>
              <a:gd name="connsiteY2" fmla="*/ 0 h 320842"/>
              <a:gd name="connsiteX0" fmla="*/ 1034716 w 1034716"/>
              <a:gd name="connsiteY0" fmla="*/ 320842 h 320842"/>
              <a:gd name="connsiteX1" fmla="*/ 713874 w 1034716"/>
              <a:gd name="connsiteY1" fmla="*/ 0 h 320842"/>
              <a:gd name="connsiteX2" fmla="*/ 393032 w 1034716"/>
              <a:gd name="connsiteY2" fmla="*/ 0 h 320842"/>
              <a:gd name="connsiteX3" fmla="*/ 0 w 1034716"/>
              <a:gd name="connsiteY3" fmla="*/ 0 h 320842"/>
              <a:gd name="connsiteX0" fmla="*/ 641684 w 641684"/>
              <a:gd name="connsiteY0" fmla="*/ 320842 h 320842"/>
              <a:gd name="connsiteX1" fmla="*/ 320842 w 641684"/>
              <a:gd name="connsiteY1" fmla="*/ 0 h 320842"/>
              <a:gd name="connsiteX2" fmla="*/ 0 w 641684"/>
              <a:gd name="connsiteY2" fmla="*/ 0 h 32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1684" h="320842">
                <a:moveTo>
                  <a:pt x="641684" y="320842"/>
                </a:moveTo>
                <a:lnTo>
                  <a:pt x="320842" y="0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9999A9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en-US" sz="1799" dirty="0">
              <a:ea typeface="Arial Unicode MS"/>
            </a:endParaRPr>
          </a:p>
        </p:txBody>
      </p:sp>
      <p:sp>
        <p:nvSpPr>
          <p:cNvPr id="11" name="Freihandform 97">
            <a:extLst>
              <a:ext uri="{FF2B5EF4-FFF2-40B4-BE49-F238E27FC236}">
                <a16:creationId xmlns:a16="http://schemas.microsoft.com/office/drawing/2014/main" id="{C35D8A8C-AFD5-4D7F-98E8-CD61962363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3811233" y="2543717"/>
            <a:ext cx="483137" cy="120784"/>
          </a:xfrm>
          <a:custGeom>
            <a:avLst/>
            <a:gdLst>
              <a:gd name="connsiteX0" fmla="*/ 1716505 w 1716505"/>
              <a:gd name="connsiteY0" fmla="*/ 1002631 h 1002631"/>
              <a:gd name="connsiteX1" fmla="*/ 713874 w 1716505"/>
              <a:gd name="connsiteY1" fmla="*/ 0 h 1002631"/>
              <a:gd name="connsiteX2" fmla="*/ 0 w 1716505"/>
              <a:gd name="connsiteY2" fmla="*/ 0 h 1002631"/>
              <a:gd name="connsiteX0" fmla="*/ 1716505 w 1716505"/>
              <a:gd name="connsiteY0" fmla="*/ 1002631 h 1002631"/>
              <a:gd name="connsiteX1" fmla="*/ 1034716 w 1716505"/>
              <a:gd name="connsiteY1" fmla="*/ 320842 h 1002631"/>
              <a:gd name="connsiteX2" fmla="*/ 713874 w 1716505"/>
              <a:gd name="connsiteY2" fmla="*/ 0 h 1002631"/>
              <a:gd name="connsiteX3" fmla="*/ 0 w 1716505"/>
              <a:gd name="connsiteY3" fmla="*/ 0 h 1002631"/>
              <a:gd name="connsiteX0" fmla="*/ 1034716 w 1034716"/>
              <a:gd name="connsiteY0" fmla="*/ 320842 h 320842"/>
              <a:gd name="connsiteX1" fmla="*/ 713874 w 1034716"/>
              <a:gd name="connsiteY1" fmla="*/ 0 h 320842"/>
              <a:gd name="connsiteX2" fmla="*/ 0 w 1034716"/>
              <a:gd name="connsiteY2" fmla="*/ 0 h 320842"/>
              <a:gd name="connsiteX0" fmla="*/ 1034716 w 1034716"/>
              <a:gd name="connsiteY0" fmla="*/ 320842 h 320842"/>
              <a:gd name="connsiteX1" fmla="*/ 713874 w 1034716"/>
              <a:gd name="connsiteY1" fmla="*/ 0 h 320842"/>
              <a:gd name="connsiteX2" fmla="*/ 393032 w 1034716"/>
              <a:gd name="connsiteY2" fmla="*/ 0 h 320842"/>
              <a:gd name="connsiteX3" fmla="*/ 0 w 1034716"/>
              <a:gd name="connsiteY3" fmla="*/ 0 h 320842"/>
              <a:gd name="connsiteX0" fmla="*/ 641684 w 641684"/>
              <a:gd name="connsiteY0" fmla="*/ 320842 h 320842"/>
              <a:gd name="connsiteX1" fmla="*/ 320842 w 641684"/>
              <a:gd name="connsiteY1" fmla="*/ 0 h 320842"/>
              <a:gd name="connsiteX2" fmla="*/ 0 w 641684"/>
              <a:gd name="connsiteY2" fmla="*/ 0 h 32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1684" h="320842">
                <a:moveTo>
                  <a:pt x="641684" y="320842"/>
                </a:moveTo>
                <a:lnTo>
                  <a:pt x="320842" y="0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9999A9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en-US" sz="1799" dirty="0">
              <a:ea typeface="Arial Unicode MS"/>
            </a:endParaRPr>
          </a:p>
        </p:txBody>
      </p:sp>
      <p:sp>
        <p:nvSpPr>
          <p:cNvPr id="3" name="Footer Placeholder 2" descr="Footer with copyright, author and department information, and date">
            <a:extLst>
              <a:ext uri="{FF2B5EF4-FFF2-40B4-BE49-F238E27FC236}">
                <a16:creationId xmlns:a16="http://schemas.microsoft.com/office/drawing/2014/main" id="{E98A965B-BB70-497D-B662-3E4A01C208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4" name="Slide Number Placeholder 3" descr="Page number">
            <a:extLst>
              <a:ext uri="{FF2B5EF4-FFF2-40B4-BE49-F238E27FC236}">
                <a16:creationId xmlns:a16="http://schemas.microsoft.com/office/drawing/2014/main" id="{FC7322B4-5DC4-4A08-8B47-ABF5332638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401475D-27F7-0DB6-CFA5-84B858479F5F}"/>
              </a:ext>
            </a:extLst>
          </p:cNvPr>
          <p:cNvSpPr txBox="1"/>
          <p:nvPr/>
        </p:nvSpPr>
        <p:spPr>
          <a:xfrm>
            <a:off x="8100819" y="1112994"/>
            <a:ext cx="3820998" cy="5139612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0" lvl="1" indent="0">
              <a:buClrTx/>
              <a:buNone/>
              <a:tabLst>
                <a:tab pos="1255085" algn="r"/>
              </a:tabLst>
              <a:defRPr/>
            </a:pPr>
            <a:endParaRPr lang="pt-PT" sz="1599" b="1" dirty="0">
              <a:solidFill>
                <a:srgbClr val="00AF8E"/>
              </a:solidFill>
            </a:endParaRPr>
          </a:p>
          <a:p>
            <a:pPr marL="0" lvl="1" indent="0">
              <a:buClrTx/>
              <a:buNone/>
              <a:tabLst>
                <a:tab pos="1255085" algn="r"/>
              </a:tabLst>
              <a:defRPr/>
            </a:pPr>
            <a:r>
              <a:rPr lang="pt-PT" sz="1599" b="1" dirty="0">
                <a:solidFill>
                  <a:srgbClr val="00AF8E"/>
                </a:solidFill>
              </a:rPr>
              <a:t>Impacto:</a:t>
            </a:r>
          </a:p>
          <a:p>
            <a:endParaRPr lang="pt-PT" sz="1600" b="1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  <a:p>
            <a:pPr marL="742950" lvl="1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Extensão da vida útil de material circulante:</a:t>
            </a:r>
          </a:p>
          <a:p>
            <a:pPr marL="1200150" lvl="2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Adiamento de investimento</a:t>
            </a:r>
          </a:p>
          <a:p>
            <a:pPr marL="1200150" lvl="2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Sustentabilidade no transporte de passageiros e carga</a:t>
            </a:r>
          </a:p>
          <a:p>
            <a:pPr marL="1200150" lvl="2" indent="-285750">
              <a:buClrTx/>
              <a:buFont typeface="Wingdings" panose="05000000000000000000" pitchFamily="2" charset="2"/>
              <a:buChar char="§"/>
            </a:pPr>
            <a:endParaRPr lang="pt-PT" sz="1400" dirty="0"/>
          </a:p>
          <a:p>
            <a:pPr marL="742950" lvl="1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Siemens Portugal reconhecida como Centro de Competência Mundial nesta tecnologia:</a:t>
            </a:r>
          </a:p>
          <a:p>
            <a:pPr marL="1200150" lvl="2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Criação de postos de trabalho altamente especializados, exportando conhecimento para todo o mundo.</a:t>
            </a:r>
          </a:p>
          <a:p>
            <a:pPr marL="1200150" lvl="2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Projetos em curso com operadores em:</a:t>
            </a:r>
          </a:p>
          <a:p>
            <a:pPr marL="1657350" lvl="3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Alemanha</a:t>
            </a:r>
          </a:p>
          <a:p>
            <a:pPr marL="1657350" lvl="3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Áustria</a:t>
            </a:r>
          </a:p>
          <a:p>
            <a:pPr marL="1657350" lvl="3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Dinamarca</a:t>
            </a:r>
          </a:p>
          <a:p>
            <a:pPr marL="1657350" lvl="3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Austrália</a:t>
            </a:r>
          </a:p>
          <a:p>
            <a:pPr marL="1657350" lvl="3" indent="-285750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Espanh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8084C0-1C62-4482-9203-CA08E47C8281}"/>
              </a:ext>
            </a:extLst>
          </p:cNvPr>
          <p:cNvSpPr txBox="1"/>
          <p:nvPr/>
        </p:nvSpPr>
        <p:spPr>
          <a:xfrm>
            <a:off x="5315003" y="3405801"/>
            <a:ext cx="128204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PT" b="1" dirty="0"/>
              <a:t>VALOR</a:t>
            </a:r>
            <a:endParaRPr lang="en-US" b="1" dirty="0" err="1"/>
          </a:p>
        </p:txBody>
      </p:sp>
    </p:spTree>
    <p:extLst>
      <p:ext uri="{BB962C8B-B14F-4D97-AF65-F5344CB8AC3E}">
        <p14:creationId xmlns:p14="http://schemas.microsoft.com/office/powerpoint/2010/main" val="22151611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F9E55E-3349-17B6-2806-5B7CC13643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Posição da Imagem 4">
            <a:extLst>
              <a:ext uri="{FF2B5EF4-FFF2-40B4-BE49-F238E27FC236}">
                <a16:creationId xmlns:a16="http://schemas.microsoft.com/office/drawing/2014/main" id="{37BC1F79-5554-A628-6CDB-C184292264E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73800"/>
            <a:ext cx="12192000" cy="3502800"/>
          </a:xfrm>
        </p:spPr>
      </p:pic>
      <p:sp>
        <p:nvSpPr>
          <p:cNvPr id="6" name="Title">
            <a:extLst>
              <a:ext uri="{FF2B5EF4-FFF2-40B4-BE49-F238E27FC236}">
                <a16:creationId xmlns:a16="http://schemas.microsoft.com/office/drawing/2014/main" id="{3EBA4EB9-0115-48A0-24FE-C98814503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1" y="3780000"/>
            <a:ext cx="11452736" cy="1477328"/>
          </a:xfrm>
        </p:spPr>
        <p:txBody>
          <a:bodyPr/>
          <a:lstStyle/>
          <a:p>
            <a:r>
              <a:rPr lang="en-US" dirty="0" err="1"/>
              <a:t>Seminário</a:t>
            </a:r>
            <a:r>
              <a:rPr lang="en-US" dirty="0"/>
              <a:t> </a:t>
            </a:r>
            <a:r>
              <a:rPr lang="en-US" dirty="0" err="1"/>
              <a:t>Ferrovias</a:t>
            </a:r>
            <a:br>
              <a:rPr lang="en-US" dirty="0"/>
            </a:br>
            <a:r>
              <a:rPr lang="en-US" b="0" dirty="0"/>
              <a:t>Redesign </a:t>
            </a:r>
            <a:r>
              <a:rPr lang="en-US" b="0" dirty="0" err="1"/>
              <a:t>Eletrónico</a:t>
            </a:r>
            <a:r>
              <a:rPr lang="en-US" b="0" dirty="0"/>
              <a:t> Siemens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AFA900A3-9F59-DF83-3826-9396EE5C6DB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1"/>
            <a:r>
              <a:rPr lang="en-US" dirty="0"/>
              <a:t>Uma </a:t>
            </a:r>
            <a:r>
              <a:rPr lang="en-US" dirty="0" err="1"/>
              <a:t>solução</a:t>
            </a:r>
            <a:r>
              <a:rPr lang="en-US" dirty="0"/>
              <a:t> </a:t>
            </a:r>
            <a:r>
              <a:rPr lang="en-US" dirty="0" err="1"/>
              <a:t>sustentável</a:t>
            </a:r>
            <a:r>
              <a:rPr lang="en-US" dirty="0"/>
              <a:t> para </a:t>
            </a:r>
            <a:r>
              <a:rPr lang="en-US" dirty="0" err="1"/>
              <a:t>extensão</a:t>
            </a:r>
            <a:r>
              <a:rPr lang="en-US" dirty="0"/>
              <a:t> da </a:t>
            </a:r>
            <a:r>
              <a:rPr lang="en-US" dirty="0" err="1"/>
              <a:t>vida</a:t>
            </a:r>
            <a:r>
              <a:rPr lang="en-US" dirty="0"/>
              <a:t> </a:t>
            </a:r>
            <a:r>
              <a:rPr lang="en-US" dirty="0" err="1"/>
              <a:t>útil</a:t>
            </a:r>
            <a:r>
              <a:rPr lang="en-US" dirty="0"/>
              <a:t> de material </a:t>
            </a:r>
            <a:r>
              <a:rPr lang="en-US" dirty="0" err="1"/>
              <a:t>circulante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AF5F0A-2F6E-4C3A-6985-B527B178E22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Unrestricted | © Siemens 2024 | Customer Services |  Abril 2024</a:t>
            </a:r>
          </a:p>
        </p:txBody>
      </p:sp>
    </p:spTree>
    <p:extLst>
      <p:ext uri="{BB962C8B-B14F-4D97-AF65-F5344CB8AC3E}">
        <p14:creationId xmlns:p14="http://schemas.microsoft.com/office/powerpoint/2010/main" val="10122176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EB81560-7ABC-445D-83B0-2D9369BC32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598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EB81560-7ABC-445D-83B0-2D9369BC32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">
            <a:extLst>
              <a:ext uri="{FF2B5EF4-FFF2-40B4-BE49-F238E27FC236}">
                <a16:creationId xmlns:a16="http://schemas.microsoft.com/office/drawing/2014/main" id="{EF7BA6B8-2D49-49EE-AA38-401584ACB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ontact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A8C0B1B3-7902-4A0F-A274-1F5878B819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1">
              <a:spcBef>
                <a:spcPts val="0"/>
              </a:spcBef>
            </a:pPr>
            <a:r>
              <a:rPr lang="de-DE" dirty="0">
                <a:solidFill>
                  <a:schemeClr val="accent3"/>
                </a:solidFill>
                <a:hlinkClick r:id="rId5"/>
              </a:rPr>
              <a:t>sergio.tomazio@siemens.com</a:t>
            </a:r>
            <a:endParaRPr lang="en-US" dirty="0">
              <a:solidFill>
                <a:schemeClr val="accent3"/>
              </a:solidFill>
            </a:endParaRPr>
          </a:p>
          <a:p>
            <a:pPr lvl="1"/>
            <a:r>
              <a:rPr lang="en-US" dirty="0"/>
              <a:t>Sérgio </a:t>
            </a:r>
            <a:r>
              <a:rPr lang="en-US" dirty="0" err="1"/>
              <a:t>Tomázio</a:t>
            </a:r>
            <a:br>
              <a:rPr lang="en-US" dirty="0"/>
            </a:br>
            <a:r>
              <a:rPr lang="en-US" dirty="0"/>
              <a:t>RC-PT </a:t>
            </a:r>
            <a:r>
              <a:rPr lang="en-US"/>
              <a:t>SMO INNOV</a:t>
            </a:r>
            <a:endParaRPr lang="en-US" dirty="0"/>
          </a:p>
          <a:p>
            <a:pPr lvl="1"/>
            <a:endParaRPr lang="en-US" b="1" dirty="0"/>
          </a:p>
          <a:p>
            <a:r>
              <a:rPr lang="en-US" dirty="0"/>
              <a:t>siemens.com/mobility-services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DEC03887-CC62-463B-9CCE-729F072DFB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09E9B22C-ACE9-C63F-EF62-135616C19E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 sz="900" dirty="0"/>
              <a:t>Unrestricted | © Siemens 2024 | Customer Services | Abril 2024</a:t>
            </a:r>
          </a:p>
        </p:txBody>
      </p:sp>
    </p:spTree>
    <p:extLst>
      <p:ext uri="{BB962C8B-B14F-4D97-AF65-F5344CB8AC3E}">
        <p14:creationId xmlns:p14="http://schemas.microsoft.com/office/powerpoint/2010/main" val="30440833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06D90A-22E6-35E4-C734-95137F4055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A729508F-54E0-49C9-6A15-D410E76CBB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A729508F-54E0-49C9-6A15-D410E76CBB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60C7FA6-1CE5-349D-A760-1D9ECDED0D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ortfolio Siemens Mobility – Customer Service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B9DCCD-B223-5765-14D5-D3BA5C4CA7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z="900" dirty="0"/>
              <a:t>Unrestricted | © Siemens 2024 | Customer Services | Abril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0234432-7385-0FC0-D168-288B064675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</a:t>
            </a:fld>
            <a:endParaRPr lang="en-US"/>
          </a:p>
        </p:txBody>
      </p:sp>
      <p:cxnSp>
        <p:nvCxnSpPr>
          <p:cNvPr id="4" name="Gerade Verbindung mit Pfeil 9">
            <a:extLst>
              <a:ext uri="{FF2B5EF4-FFF2-40B4-BE49-F238E27FC236}">
                <a16:creationId xmlns:a16="http://schemas.microsoft.com/office/drawing/2014/main" id="{29244158-0B9B-94FA-BBAB-6B777DAA828B}"/>
              </a:ext>
            </a:extLst>
          </p:cNvPr>
          <p:cNvCxnSpPr/>
          <p:nvPr/>
        </p:nvCxnSpPr>
        <p:spPr bwMode="auto">
          <a:xfrm flipH="1">
            <a:off x="6384032" y="3563475"/>
            <a:ext cx="2131319" cy="0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accent6"/>
            </a:solidFill>
            <a:prstDash val="solid"/>
            <a:round/>
            <a:headEnd type="none" w="med" len="med"/>
            <a:tailEnd type="oval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Kreis: nicht ausgefüllt 24">
            <a:extLst>
              <a:ext uri="{FF2B5EF4-FFF2-40B4-BE49-F238E27FC236}">
                <a16:creationId xmlns:a16="http://schemas.microsoft.com/office/drawing/2014/main" id="{0E8B3DB1-92B8-309C-F37B-F16F0E81A9F7}"/>
              </a:ext>
            </a:extLst>
          </p:cNvPr>
          <p:cNvSpPr/>
          <p:nvPr/>
        </p:nvSpPr>
        <p:spPr bwMode="auto">
          <a:xfrm>
            <a:off x="3312862" y="1003913"/>
            <a:ext cx="5212322" cy="5212312"/>
          </a:xfrm>
          <a:prstGeom prst="donut">
            <a:avLst>
              <a:gd name="adj" fmla="val 16221"/>
            </a:avLst>
          </a:prstGeom>
          <a:solidFill>
            <a:schemeClr val="accent6">
              <a:alpha val="68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00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5" name="Ellipse 27">
            <a:extLst>
              <a:ext uri="{FF2B5EF4-FFF2-40B4-BE49-F238E27FC236}">
                <a16:creationId xmlns:a16="http://schemas.microsoft.com/office/drawing/2014/main" id="{C313169B-ED65-B25B-DDB4-54EF9125AA36}"/>
              </a:ext>
            </a:extLst>
          </p:cNvPr>
          <p:cNvSpPr/>
          <p:nvPr/>
        </p:nvSpPr>
        <p:spPr>
          <a:xfrm>
            <a:off x="5355832" y="3027214"/>
            <a:ext cx="1165708" cy="1165708"/>
          </a:xfrm>
          <a:prstGeom prst="ellipse">
            <a:avLst/>
          </a:prstGeom>
          <a:solidFill>
            <a:schemeClr val="accent6">
              <a:alpha val="68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sz="100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BE2F258-9A6F-6FF2-4942-9DFAD194A4C3}"/>
              </a:ext>
            </a:extLst>
          </p:cNvPr>
          <p:cNvGrpSpPr/>
          <p:nvPr/>
        </p:nvGrpSpPr>
        <p:grpSpPr>
          <a:xfrm>
            <a:off x="411162" y="799824"/>
            <a:ext cx="11481482" cy="6297092"/>
            <a:chOff x="411162" y="535131"/>
            <a:chExt cx="11481482" cy="6297092"/>
          </a:xfrm>
        </p:grpSpPr>
        <p:sp>
          <p:nvSpPr>
            <p:cNvPr id="7" name="Rechteck 10">
              <a:extLst>
                <a:ext uri="{FF2B5EF4-FFF2-40B4-BE49-F238E27FC236}">
                  <a16:creationId xmlns:a16="http://schemas.microsoft.com/office/drawing/2014/main" id="{FF59C8A3-F9F7-232F-0334-00AB40707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162" y="3167213"/>
              <a:ext cx="3144321" cy="96180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100" b="1" dirty="0">
                  <a:solidFill>
                    <a:schemeClr val="accent2"/>
                  </a:solidFill>
                </a:rPr>
                <a:t>Asset mgmt. &amp; Tech. operations</a:t>
              </a:r>
              <a:endParaRPr lang="en-US" sz="1100" b="1" baseline="30000" dirty="0">
                <a:solidFill>
                  <a:schemeClr val="accent2"/>
                </a:solidFill>
              </a:endParaRP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 dirty="0"/>
                <a:t>Asset management for rail </a:t>
              </a:r>
              <a:br>
                <a:rPr lang="en-US" sz="1100" dirty="0"/>
              </a:br>
              <a:r>
                <a:rPr lang="en-US" sz="1100" dirty="0"/>
                <a:t>systems (future service)</a:t>
              </a: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 dirty="0"/>
                <a:t>Technical operations</a:t>
              </a:r>
            </a:p>
            <a:p>
              <a:pPr>
                <a:spcAft>
                  <a:spcPts val="300"/>
                </a:spcAft>
              </a:pPr>
              <a:endParaRPr lang="en-US" sz="1100" b="1" dirty="0"/>
            </a:p>
          </p:txBody>
        </p:sp>
        <p:sp>
          <p:nvSpPr>
            <p:cNvPr id="8" name="Rechteck 12">
              <a:extLst>
                <a:ext uri="{FF2B5EF4-FFF2-40B4-BE49-F238E27FC236}">
                  <a16:creationId xmlns:a16="http://schemas.microsoft.com/office/drawing/2014/main" id="{6E5752B7-C712-26B0-A426-509766DF5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162" y="987223"/>
              <a:ext cx="3144321" cy="183127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100" b="1">
                  <a:solidFill>
                    <a:schemeClr val="accent2"/>
                  </a:solidFill>
                </a:rPr>
                <a:t>Digital services</a:t>
              </a: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>
                  <a:cs typeface="Arial"/>
                </a:rPr>
                <a:t>Digital asset management for rail systems</a:t>
              </a:r>
              <a:endParaRPr lang="en-US" sz="1100"/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/>
                <a:t>Maintenance intelligence</a:t>
              </a:r>
              <a:endParaRPr lang="en-US" sz="1100">
                <a:cs typeface="Arial"/>
              </a:endParaRP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/>
                <a:t>Operations intelligence</a:t>
              </a:r>
              <a:endParaRPr lang="en-US" sz="1100">
                <a:cs typeface="Arial"/>
              </a:endParaRP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/>
                <a:t>Lifecycle intelligence</a:t>
              </a:r>
              <a:endParaRPr lang="en-US" sz="1100">
                <a:cs typeface="Arial"/>
              </a:endParaRP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/>
                <a:t>Measurement &amp; monitoring</a:t>
              </a:r>
              <a:endParaRPr lang="en-US" sz="1100">
                <a:cs typeface="Arial"/>
              </a:endParaRP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/>
                <a:t>Connectivity &amp; data transmission</a:t>
              </a:r>
              <a:endParaRPr lang="en-US" sz="1100">
                <a:cs typeface="Arial"/>
              </a:endParaRP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/>
                <a:t>IT care services </a:t>
              </a:r>
              <a:endParaRPr lang="en-US" sz="1100">
                <a:cs typeface="Arial"/>
              </a:endParaRP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/>
                <a:t>Cyber security services</a:t>
              </a:r>
              <a:endParaRPr lang="en-US" sz="1100">
                <a:cs typeface="Arial"/>
              </a:endParaRPr>
            </a:p>
          </p:txBody>
        </p:sp>
        <p:sp>
          <p:nvSpPr>
            <p:cNvPr id="9" name="Rechteck 13">
              <a:extLst>
                <a:ext uri="{FF2B5EF4-FFF2-40B4-BE49-F238E27FC236}">
                  <a16:creationId xmlns:a16="http://schemas.microsoft.com/office/drawing/2014/main" id="{E911CC05-5CED-5595-04A6-73BA6EB6A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162" y="4463781"/>
              <a:ext cx="3144321" cy="135934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lnSpc>
                  <a:spcPts val="1099"/>
                </a:lnSpc>
                <a:spcAft>
                  <a:spcPts val="600"/>
                </a:spcAft>
              </a:pPr>
              <a:r>
                <a:rPr lang="en-US" sz="1100" b="1" dirty="0">
                  <a:solidFill>
                    <a:schemeClr val="accent2"/>
                  </a:solidFill>
                </a:rPr>
                <a:t>Spare parts &amp; Repair</a:t>
              </a:r>
            </a:p>
            <a:p>
              <a:pPr marL="180975" lvl="1" indent="-180975">
                <a:lnSpc>
                  <a:spcPts val="1099"/>
                </a:lnSpc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 dirty="0"/>
                <a:t>Easy Spares</a:t>
              </a:r>
              <a:r>
                <a:rPr lang="en-US" sz="1100" baseline="30000" dirty="0"/>
                <a:t>®</a:t>
              </a:r>
              <a:r>
                <a:rPr lang="en-US" sz="1100" dirty="0"/>
                <a:t> – Performance </a:t>
              </a:r>
              <a:br>
                <a:rPr lang="en-US" sz="1100" dirty="0"/>
              </a:br>
              <a:r>
                <a:rPr lang="en-US" sz="1100" dirty="0"/>
                <a:t>contracts for ensured availability</a:t>
              </a:r>
              <a:endParaRPr lang="en-US" sz="1100" dirty="0">
                <a:cs typeface="Arial"/>
              </a:endParaRPr>
            </a:p>
            <a:p>
              <a:pPr marL="180975" lvl="1" indent="-180975">
                <a:lnSpc>
                  <a:spcPts val="1099"/>
                </a:lnSpc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 dirty="0"/>
                <a:t>Easy spare parts supply </a:t>
              </a:r>
            </a:p>
            <a:p>
              <a:pPr marL="180975" lvl="1" indent="-180975">
                <a:lnSpc>
                  <a:spcPts val="1099"/>
                </a:lnSpc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 dirty="0"/>
                <a:t>Easy component and part repair &amp; overhaul</a:t>
              </a:r>
              <a:endParaRPr lang="en-US" sz="1100" dirty="0">
                <a:cs typeface="Arial"/>
              </a:endParaRPr>
            </a:p>
            <a:p>
              <a:pPr marL="180975" lvl="1" indent="-180975">
                <a:lnSpc>
                  <a:spcPts val="1099"/>
                </a:lnSpc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 dirty="0"/>
                <a:t>Easy obsolescence solutions  </a:t>
              </a:r>
              <a:endParaRPr lang="en-US" sz="1100" dirty="0">
                <a:cs typeface="Arial"/>
              </a:endParaRPr>
            </a:p>
            <a:p>
              <a:pPr marL="180975" lvl="1" indent="-180975">
                <a:lnSpc>
                  <a:spcPts val="1099"/>
                </a:lnSpc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 dirty="0"/>
                <a:t>Easy </a:t>
              </a:r>
              <a:r>
                <a:rPr lang="en-US" sz="1100" dirty="0" err="1"/>
                <a:t>Sparovation</a:t>
              </a:r>
              <a:r>
                <a:rPr lang="en-US" sz="1100" dirty="0"/>
                <a:t> Part</a:t>
              </a:r>
              <a:r>
                <a:rPr lang="en-US" sz="1100" baseline="30000" dirty="0"/>
                <a:t>®</a:t>
              </a:r>
              <a:r>
                <a:rPr lang="en-US" sz="1100" dirty="0"/>
                <a:t> –</a:t>
              </a:r>
              <a:br>
                <a:rPr lang="en-US" sz="1100" dirty="0"/>
              </a:br>
              <a:r>
                <a:rPr lang="en-US" sz="1100" dirty="0"/>
                <a:t>Improved 3D printed parts</a:t>
              </a:r>
              <a:endParaRPr lang="en-US" sz="1100" b="1" dirty="0"/>
            </a:p>
          </p:txBody>
        </p:sp>
        <p:cxnSp>
          <p:nvCxnSpPr>
            <p:cNvPr id="25" name="Gerade Verbindung mit Pfeil 14">
              <a:extLst>
                <a:ext uri="{FF2B5EF4-FFF2-40B4-BE49-F238E27FC236}">
                  <a16:creationId xmlns:a16="http://schemas.microsoft.com/office/drawing/2014/main" id="{ADD49710-AE81-97EB-9C52-B62DA921B299}"/>
                </a:ext>
              </a:extLst>
            </p:cNvPr>
            <p:cNvCxnSpPr/>
            <p:nvPr/>
          </p:nvCxnSpPr>
          <p:spPr bwMode="auto">
            <a:xfrm>
              <a:off x="2786743" y="4869160"/>
              <a:ext cx="1142320" cy="0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mit Pfeil 15">
              <a:extLst>
                <a:ext uri="{FF2B5EF4-FFF2-40B4-BE49-F238E27FC236}">
                  <a16:creationId xmlns:a16="http://schemas.microsoft.com/office/drawing/2014/main" id="{15F61B0A-7E29-3A9A-9D42-5D9ADD9C5F91}"/>
                </a:ext>
              </a:extLst>
            </p:cNvPr>
            <p:cNvCxnSpPr/>
            <p:nvPr/>
          </p:nvCxnSpPr>
          <p:spPr bwMode="auto">
            <a:xfrm>
              <a:off x="2543951" y="3648114"/>
              <a:ext cx="1025506" cy="0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mit Pfeil 17">
              <a:extLst>
                <a:ext uri="{FF2B5EF4-FFF2-40B4-BE49-F238E27FC236}">
                  <a16:creationId xmlns:a16="http://schemas.microsoft.com/office/drawing/2014/main" id="{17509E80-5CFE-262F-5B6E-CA49433B2E10}"/>
                </a:ext>
              </a:extLst>
            </p:cNvPr>
            <p:cNvCxnSpPr/>
            <p:nvPr/>
          </p:nvCxnSpPr>
          <p:spPr bwMode="auto">
            <a:xfrm>
              <a:off x="2536325" y="2636912"/>
              <a:ext cx="1255419" cy="0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8" name="Rechteck 18">
              <a:extLst>
                <a:ext uri="{FF2B5EF4-FFF2-40B4-BE49-F238E27FC236}">
                  <a16:creationId xmlns:a16="http://schemas.microsoft.com/office/drawing/2014/main" id="{4EA5803B-12B5-D391-EFBA-D2D744053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8323" y="4178714"/>
              <a:ext cx="3144321" cy="7925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100" b="1">
                  <a:solidFill>
                    <a:schemeClr val="accent2"/>
                  </a:solidFill>
                </a:rPr>
                <a:t>Qualification &amp; Training</a:t>
              </a: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/>
                <a:t>On-site and virtual training</a:t>
              </a: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/>
                <a:t>Test and validation</a:t>
              </a: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/>
                <a:t>Consulting</a:t>
              </a:r>
            </a:p>
          </p:txBody>
        </p:sp>
        <p:sp>
          <p:nvSpPr>
            <p:cNvPr id="29" name="Rechteck 19">
              <a:extLst>
                <a:ext uri="{FF2B5EF4-FFF2-40B4-BE49-F238E27FC236}">
                  <a16:creationId xmlns:a16="http://schemas.microsoft.com/office/drawing/2014/main" id="{FA546040-056D-5605-01E5-5FE89F6872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8323" y="1416674"/>
              <a:ext cx="3144321" cy="158504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100" b="1" dirty="0">
                  <a:solidFill>
                    <a:schemeClr val="accent2"/>
                  </a:solidFill>
                </a:rPr>
                <a:t>Maintenance &amp; Technical support</a:t>
              </a: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 dirty="0"/>
                <a:t>Lifecycle care</a:t>
              </a:r>
              <a:endParaRPr lang="en-US" sz="1100" dirty="0">
                <a:cs typeface="Arial"/>
              </a:endParaRP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 dirty="0"/>
                <a:t>Full service</a:t>
              </a:r>
              <a:endParaRPr lang="en-US" sz="1100" dirty="0">
                <a:cs typeface="Arial"/>
              </a:endParaRP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 dirty="0"/>
                <a:t>Technical Support &amp; Spares Supply Agreement</a:t>
              </a:r>
              <a:br>
                <a:rPr lang="en-US" sz="1100" dirty="0"/>
              </a:br>
              <a:r>
                <a:rPr lang="en-US" sz="1100" dirty="0"/>
                <a:t>(TSSSA)</a:t>
              </a:r>
              <a:endParaRPr lang="en-US" sz="1100" dirty="0">
                <a:cs typeface="Arial"/>
              </a:endParaRP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 dirty="0"/>
                <a:t>Technical support</a:t>
              </a:r>
              <a:endParaRPr lang="en-US" sz="1100" dirty="0">
                <a:cs typeface="Arial"/>
              </a:endParaRP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 dirty="0"/>
                <a:t>System repair &amp; overhaul</a:t>
              </a:r>
              <a:endParaRPr lang="en-US" sz="1100" dirty="0">
                <a:cs typeface="Arial"/>
              </a:endParaRP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 dirty="0"/>
                <a:t>Workshop services</a:t>
              </a:r>
              <a:endParaRPr lang="en-US" sz="1100" dirty="0">
                <a:cs typeface="Arial"/>
              </a:endParaRPr>
            </a:p>
          </p:txBody>
        </p:sp>
        <p:sp>
          <p:nvSpPr>
            <p:cNvPr id="30" name="Rechteck 20">
              <a:extLst>
                <a:ext uri="{FF2B5EF4-FFF2-40B4-BE49-F238E27FC236}">
                  <a16:creationId xmlns:a16="http://schemas.microsoft.com/office/drawing/2014/main" id="{68905DB2-EA47-892E-3653-B09C19A88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8323" y="3167213"/>
              <a:ext cx="3144321" cy="79252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100" b="1">
                  <a:solidFill>
                    <a:schemeClr val="accent2"/>
                  </a:solidFill>
                </a:rPr>
                <a:t>Lifetime extension &amp; Improvements</a:t>
              </a: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/>
                <a:t>Vehicle upgrades &amp; lifetime extension</a:t>
              </a: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/>
                <a:t>Component lifetime analysis &amp; upgrades</a:t>
              </a:r>
            </a:p>
            <a:p>
              <a:pPr marL="180975" lvl="1" indent="-180975"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100"/>
                <a:t>Upgrade solutions</a:t>
              </a:r>
            </a:p>
          </p:txBody>
        </p:sp>
        <p:cxnSp>
          <p:nvCxnSpPr>
            <p:cNvPr id="31" name="Gerade Verbindung mit Pfeil 21">
              <a:extLst>
                <a:ext uri="{FF2B5EF4-FFF2-40B4-BE49-F238E27FC236}">
                  <a16:creationId xmlns:a16="http://schemas.microsoft.com/office/drawing/2014/main" id="{2AF7C5DE-64AF-D13C-DCCA-55BBEBB3D36C}"/>
                </a:ext>
              </a:extLst>
            </p:cNvPr>
            <p:cNvCxnSpPr/>
            <p:nvPr/>
          </p:nvCxnSpPr>
          <p:spPr bwMode="auto">
            <a:xfrm flipH="1">
              <a:off x="8351384" y="3563475"/>
              <a:ext cx="266701" cy="0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mit Pfeil 22">
              <a:extLst>
                <a:ext uri="{FF2B5EF4-FFF2-40B4-BE49-F238E27FC236}">
                  <a16:creationId xmlns:a16="http://schemas.microsoft.com/office/drawing/2014/main" id="{94ACFE0C-53E4-84B1-5B02-7E00FCA9F6F6}"/>
                </a:ext>
              </a:extLst>
            </p:cNvPr>
            <p:cNvCxnSpPr/>
            <p:nvPr/>
          </p:nvCxnSpPr>
          <p:spPr bwMode="auto">
            <a:xfrm flipH="1">
              <a:off x="8141834" y="4579475"/>
              <a:ext cx="476252" cy="0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mit Pfeil 23">
              <a:extLst>
                <a:ext uri="{FF2B5EF4-FFF2-40B4-BE49-F238E27FC236}">
                  <a16:creationId xmlns:a16="http://schemas.microsoft.com/office/drawing/2014/main" id="{B3BEE614-F5BE-05FB-D74D-053C49201B5F}"/>
                </a:ext>
              </a:extLst>
            </p:cNvPr>
            <p:cNvCxnSpPr/>
            <p:nvPr/>
          </p:nvCxnSpPr>
          <p:spPr bwMode="auto">
            <a:xfrm flipH="1">
              <a:off x="7917997" y="2267254"/>
              <a:ext cx="700088" cy="0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37" name="Grafik 16">
              <a:extLst>
                <a:ext uri="{FF2B5EF4-FFF2-40B4-BE49-F238E27FC236}">
                  <a16:creationId xmlns:a16="http://schemas.microsoft.com/office/drawing/2014/main" id="{6E19A34D-A25B-75DE-3AC7-6BF4C1F1BA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11121" y="535131"/>
              <a:ext cx="6095630" cy="6297092"/>
            </a:xfrm>
            <a:prstGeom prst="rect">
              <a:avLst/>
            </a:prstGeom>
          </p:spPr>
        </p:pic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431B9D82-4BF2-B15A-774A-2DA04117E8B0}"/>
              </a:ext>
            </a:extLst>
          </p:cNvPr>
          <p:cNvSpPr/>
          <p:nvPr/>
        </p:nvSpPr>
        <p:spPr>
          <a:xfrm>
            <a:off x="8525184" y="3336758"/>
            <a:ext cx="3367460" cy="1056940"/>
          </a:xfrm>
          <a:prstGeom prst="rect">
            <a:avLst/>
          </a:prstGeom>
          <a:noFill/>
          <a:ln w="2857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8728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20D76-F97C-F807-1D99-A619A6C938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7DA7018D-BEE6-4D0A-D4B5-742B6FCE4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pt-PT" dirty="0"/>
              <a:t>Base Instalada de Material Circulante Pesado Siemens em Portugal</a:t>
            </a:r>
          </a:p>
        </p:txBody>
      </p:sp>
      <p:sp>
        <p:nvSpPr>
          <p:cNvPr id="10" name="Foliennummernplatzhalter 3">
            <a:extLst>
              <a:ext uri="{FF2B5EF4-FFF2-40B4-BE49-F238E27FC236}">
                <a16:creationId xmlns:a16="http://schemas.microsoft.com/office/drawing/2014/main" id="{AD49832D-ABB6-06F2-33EB-BC6F69F36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3</a:t>
            </a:fld>
            <a:endParaRPr lang="en-US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DAB9BF9E-7B85-F70D-04B1-A3C7B85994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7330549"/>
              </p:ext>
            </p:extLst>
          </p:nvPr>
        </p:nvGraphicFramePr>
        <p:xfrm>
          <a:off x="1622611" y="969468"/>
          <a:ext cx="10158987" cy="50243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0288">
                  <a:extLst>
                    <a:ext uri="{9D8B030D-6E8A-4147-A177-3AD203B41FA5}">
                      <a16:colId xmlns:a16="http://schemas.microsoft.com/office/drawing/2014/main" val="2821507196"/>
                    </a:ext>
                  </a:extLst>
                </a:gridCol>
                <a:gridCol w="3012533">
                  <a:extLst>
                    <a:ext uri="{9D8B030D-6E8A-4147-A177-3AD203B41FA5}">
                      <a16:colId xmlns:a16="http://schemas.microsoft.com/office/drawing/2014/main" val="3845367937"/>
                    </a:ext>
                  </a:extLst>
                </a:gridCol>
                <a:gridCol w="3012533">
                  <a:extLst>
                    <a:ext uri="{9D8B030D-6E8A-4147-A177-3AD203B41FA5}">
                      <a16:colId xmlns:a16="http://schemas.microsoft.com/office/drawing/2014/main" val="303630564"/>
                    </a:ext>
                  </a:extLst>
                </a:gridCol>
                <a:gridCol w="1843633">
                  <a:extLst>
                    <a:ext uri="{9D8B030D-6E8A-4147-A177-3AD203B41FA5}">
                      <a16:colId xmlns:a16="http://schemas.microsoft.com/office/drawing/2014/main" val="4239519639"/>
                    </a:ext>
                  </a:extLst>
                </a:gridCol>
              </a:tblGrid>
              <a:tr h="618421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Ano</a:t>
                      </a:r>
                    </a:p>
                  </a:txBody>
                  <a:tcPr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/>
                        <a:t>Operador</a:t>
                      </a:r>
                      <a:endParaRPr lang="en-GB" sz="1400" dirty="0"/>
                    </a:p>
                  </a:txBody>
                  <a:tcPr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/>
                        <a:t>Frota</a:t>
                      </a:r>
                      <a:endParaRPr lang="en-GB" sz="1400" dirty="0"/>
                    </a:p>
                  </a:txBody>
                  <a:tcPr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/>
                        <a:t>Qtd</a:t>
                      </a:r>
                    </a:p>
                  </a:txBody>
                  <a:tcPr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22390"/>
                  </a:ext>
                </a:extLst>
              </a:tr>
              <a:tr h="49001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90</a:t>
                      </a:r>
                    </a:p>
                  </a:txBody>
                  <a:tcPr marL="3962" marR="3962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ML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ML9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19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6094042"/>
                  </a:ext>
                </a:extLst>
              </a:tr>
              <a:tr h="49001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92</a:t>
                      </a:r>
                      <a:endParaRPr lang="pt-PT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62" marR="3962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CP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UQE2300/240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56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300817"/>
                  </a:ext>
                </a:extLst>
              </a:tr>
              <a:tr h="4903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93</a:t>
                      </a:r>
                      <a:endParaRPr lang="pt-PT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62" marR="3962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CP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LE560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30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6460949"/>
                  </a:ext>
                </a:extLst>
              </a:tr>
              <a:tr h="4952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95</a:t>
                      </a:r>
                    </a:p>
                  </a:txBody>
                  <a:tcPr marL="3962" marR="3962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ML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ML95/97/99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94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4884007"/>
                  </a:ext>
                </a:extLst>
              </a:tr>
              <a:tr h="4952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96</a:t>
                      </a:r>
                    </a:p>
                  </a:txBody>
                  <a:tcPr marL="3962" marR="3962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CARRIS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GT6/8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07625"/>
                  </a:ext>
                </a:extLst>
              </a:tr>
              <a:tr h="4952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96</a:t>
                      </a:r>
                    </a:p>
                  </a:txBody>
                  <a:tcPr marL="3962" marR="3962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CP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CPA400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640383"/>
                  </a:ext>
                </a:extLst>
              </a:tr>
              <a:tr h="4556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98</a:t>
                      </a:r>
                    </a:p>
                  </a:txBody>
                  <a:tcPr marL="3962" marR="3962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CP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UME340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34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9854151"/>
                  </a:ext>
                </a:extLst>
              </a:tr>
              <a:tr h="49704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04</a:t>
                      </a:r>
                    </a:p>
                  </a:txBody>
                  <a:tcPr marL="3962" marR="3962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MTS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>
                          <a:solidFill>
                            <a:schemeClr val="tx1"/>
                          </a:solidFill>
                        </a:rPr>
                        <a:t>Combino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24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3157372"/>
                  </a:ext>
                </a:extLst>
              </a:tr>
              <a:tr h="49704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08</a:t>
                      </a:r>
                    </a:p>
                  </a:txBody>
                  <a:tcPr marL="3962" marR="3962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CP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LE470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25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2355261"/>
                  </a:ext>
                </a:extLst>
              </a:tr>
            </a:tbl>
          </a:graphicData>
        </a:graphic>
      </p:graphicFrame>
      <p:pic>
        <p:nvPicPr>
          <p:cNvPr id="9" name="Imagem 7" descr="https://encrypted-tbn0.google.com/images?q=tbn:ANd9GcT4Kj9BKiXtEeH0hkW_hrmxT9GSCbwA_XoWqaAFJRtxiJUjnZBP">
            <a:extLst>
              <a:ext uri="{FF2B5EF4-FFF2-40B4-BE49-F238E27FC236}">
                <a16:creationId xmlns:a16="http://schemas.microsoft.com/office/drawing/2014/main" id="{F8FFBB20-167C-7C97-783E-E0A6A366CE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402" y="2091362"/>
            <a:ext cx="807994" cy="465209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Imagem 10" descr="https://encrypted-tbn2.google.com/images?q=tbn:ANd9GcSx-SdSwbdeM9yOsSOlVXiSCBVW2lm0ZDYZajQOxGgznSs62tKTiw">
            <a:extLst>
              <a:ext uri="{FF2B5EF4-FFF2-40B4-BE49-F238E27FC236}">
                <a16:creationId xmlns:a16="http://schemas.microsoft.com/office/drawing/2014/main" id="{6DBDC22E-22C2-A551-75CC-DB69A6139D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401" y="4568504"/>
            <a:ext cx="807994" cy="429776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Imagem 1" descr="http://1.bp.blogspot.com/__42hZSGUWZY/SbBWgdTxnpI/AAAAAAAAAGI/JNwA0Aj6JWA/s320/locomotiva.jpg">
            <a:extLst>
              <a:ext uri="{FF2B5EF4-FFF2-40B4-BE49-F238E27FC236}">
                <a16:creationId xmlns:a16="http://schemas.microsoft.com/office/drawing/2014/main" id="{5E4DF3EF-3B31-AC0D-5F9C-7C0876E577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400" y="5519145"/>
            <a:ext cx="803523" cy="465209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Imagem 13" descr="http://t3.gstatic.com/images?q=tbn:ANd9GcT1ix7NnI3fK6ce0sRAbsEdOdjrJszQWsD62bRZf_pF_-orOLPxUswaD_U8">
            <a:extLst>
              <a:ext uri="{FF2B5EF4-FFF2-40B4-BE49-F238E27FC236}">
                <a16:creationId xmlns:a16="http://schemas.microsoft.com/office/drawing/2014/main" id="{63A116C7-595E-F8D5-2575-9E8F4C4E26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402" y="2591569"/>
            <a:ext cx="807994" cy="4652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Imagem 19" descr="https://encrypted-tbn1.google.com/images?q=tbn:ANd9GcTtmeGhpJKvyX-HkukaKwMOwskT8fXfu7zMvQLwUi92V7IpdbLqJA">
            <a:extLst>
              <a:ext uri="{FF2B5EF4-FFF2-40B4-BE49-F238E27FC236}">
                <a16:creationId xmlns:a16="http://schemas.microsoft.com/office/drawing/2014/main" id="{B501CE92-140B-0678-9FA1-1154B59AF1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400" y="1593729"/>
            <a:ext cx="803523" cy="462635"/>
          </a:xfrm>
          <a:prstGeom prst="rect">
            <a:avLst/>
          </a:prstGeom>
          <a:noFill/>
          <a:ln w="9525">
            <a:solidFill>
              <a:schemeClr val="bg1"/>
            </a:solidFill>
          </a:ln>
          <a:effectLst>
            <a:outerShdw blurRad="292100" dist="139700" dir="2700000" algn="bl" rotWithShape="0">
              <a:prstClr val="black">
                <a:alpha val="65000"/>
              </a:prstClr>
            </a:outerShdw>
          </a:effectLst>
        </p:spPr>
      </p:pic>
      <p:pic>
        <p:nvPicPr>
          <p:cNvPr id="8" name="Imagem 22" descr="http://www.metrolisboa.pt/wp-content/uploads/ml95_01.jpg">
            <a:extLst>
              <a:ext uri="{FF2B5EF4-FFF2-40B4-BE49-F238E27FC236}">
                <a16:creationId xmlns:a16="http://schemas.microsoft.com/office/drawing/2014/main" id="{21433506-7CA5-BD2F-521E-C980303063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400" y="3091776"/>
            <a:ext cx="803523" cy="432856"/>
          </a:xfrm>
          <a:prstGeom prst="rect">
            <a:avLst/>
          </a:prstGeom>
          <a:noFill/>
          <a:ln w="9525">
            <a:solidFill>
              <a:schemeClr val="bg1"/>
            </a:solidFill>
          </a:ln>
          <a:effectLst>
            <a:outerShdw blurRad="292100" dist="139700" dir="2700000" algn="bl" rotWithShape="0">
              <a:prstClr val="black">
                <a:alpha val="65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383D434-B9FE-A493-B339-270C487D380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400" y="4024404"/>
            <a:ext cx="803523" cy="509102"/>
          </a:xfrm>
          <a:prstGeom prst="rect">
            <a:avLst/>
          </a:prstGeom>
        </p:spPr>
      </p:pic>
      <p:sp>
        <p:nvSpPr>
          <p:cNvPr id="2" name="Fußzeilenplatzhalter 2">
            <a:extLst>
              <a:ext uri="{FF2B5EF4-FFF2-40B4-BE49-F238E27FC236}">
                <a16:creationId xmlns:a16="http://schemas.microsoft.com/office/drawing/2014/main" id="{A9465A14-9FB6-4031-8C79-0AEF861A18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 sz="900" dirty="0"/>
              <a:t>Unrestricted | © Siemens 2024 | Customer Services | Abril 2024</a:t>
            </a:r>
          </a:p>
        </p:txBody>
      </p:sp>
      <p:pic>
        <p:nvPicPr>
          <p:cNvPr id="11" name="Imagem 25" descr="https://encrypted-tbn2.google.com/images?q=tbn:ANd9GcQMXum40J4h--_GXRStUr_TxbnTYbEghAlL7C7Dje_nTpcvFHr5">
            <a:extLst>
              <a:ext uri="{FF2B5EF4-FFF2-40B4-BE49-F238E27FC236}">
                <a16:creationId xmlns:a16="http://schemas.microsoft.com/office/drawing/2014/main" id="{BB1B7E19-9F59-38C2-918F-599EAB2F80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30838" y="5033278"/>
            <a:ext cx="783086" cy="450868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/>
            </a:solidFill>
          </a:ln>
          <a:effectLst>
            <a:outerShdw blurRad="292100" dist="139700" dir="2700000" algn="bl" rotWithShape="0">
              <a:prstClr val="black">
                <a:alpha val="65000"/>
              </a:prstClr>
            </a:outerShdw>
          </a:effectLst>
        </p:spPr>
      </p:pic>
      <p:pic>
        <p:nvPicPr>
          <p:cNvPr id="16" name="Picture 15" descr="A yellow and grey train&#10;&#10;Description automatically generated">
            <a:extLst>
              <a:ext uri="{FF2B5EF4-FFF2-40B4-BE49-F238E27FC236}">
                <a16:creationId xmlns:a16="http://schemas.microsoft.com/office/drawing/2014/main" id="{F5814884-FBE4-179B-4B7B-5F925047BFEA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48361" r="13100"/>
          <a:stretch/>
        </p:blipFill>
        <p:spPr>
          <a:xfrm>
            <a:off x="405929" y="3559630"/>
            <a:ext cx="807994" cy="429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5824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31FBB8CD-33BA-9FE2-A7CB-1EC3A96A229D}"/>
              </a:ext>
            </a:extLst>
          </p:cNvPr>
          <p:cNvSpPr txBox="1">
            <a:spLocks/>
          </p:cNvSpPr>
          <p:nvPr/>
        </p:nvSpPr>
        <p:spPr>
          <a:xfrm>
            <a:off x="410400" y="766800"/>
            <a:ext cx="5486400" cy="4963682"/>
          </a:xfrm>
          <a:prstGeom prst="rect">
            <a:avLst/>
          </a:prstGeom>
          <a:noFill/>
        </p:spPr>
        <p:txBody>
          <a:bodyPr vert="horz" lIns="180000" tIns="360000" rIns="180000" bIns="3600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PT" dirty="0"/>
              <a:t>Lançado em 1983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PT" dirty="0"/>
              <a:t>Primeiro Sistema de Controlo Digital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PT" dirty="0"/>
              <a:t>Sistema Modular</a:t>
            </a:r>
          </a:p>
          <a:p>
            <a:pPr marL="742950" lvl="1" indent="-28575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PT" dirty="0"/>
              <a:t>Flexibilidade</a:t>
            </a:r>
          </a:p>
          <a:p>
            <a:pPr marL="742950" lvl="1" indent="-28575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PT" dirty="0"/>
              <a:t>Manutenibilidad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PT" dirty="0"/>
              <a:t>Baseado em Microprocessadores de 16 bit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PT" dirty="0"/>
              <a:t>Linguagem ASSEMBLER + ferramenta de </a:t>
            </a:r>
            <a:r>
              <a:rPr lang="pt-PT" dirty="0" err="1"/>
              <a:t>graficagem</a:t>
            </a:r>
            <a:r>
              <a:rPr lang="pt-PT" dirty="0"/>
              <a:t> SIBACAD</a:t>
            </a:r>
            <a:endParaRPr lang="pt-PT" sz="1800" dirty="0">
              <a:ea typeface="+mn-ea"/>
              <a:cs typeface="Arial" pitchFamily="34" charset="0"/>
            </a:endParaRPr>
          </a:p>
          <a:p>
            <a:pPr marL="285750" indent="-285750">
              <a:spcAft>
                <a:spcPts val="2400"/>
              </a:spcAft>
              <a:buFont typeface="Wingdings" panose="05000000000000000000" pitchFamily="2" charset="2"/>
              <a:buChar char="§"/>
            </a:pPr>
            <a:endParaRPr lang="pt-PT" sz="1600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F06AAEF1-DD71-4083-B4B4-B404E5CEB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/>
              <a:t>SIBAS16</a:t>
            </a:r>
            <a:endParaRPr lang="pt-PT"/>
          </a:p>
        </p:txBody>
      </p:sp>
      <p:sp>
        <p:nvSpPr>
          <p:cNvPr id="10" name="Foliennummernplatzhalter 3">
            <a:extLst>
              <a:ext uri="{FF2B5EF4-FFF2-40B4-BE49-F238E27FC236}">
                <a16:creationId xmlns:a16="http://schemas.microsoft.com/office/drawing/2014/main" id="{77F20148-C896-4C40-8E6E-1A8B16B2D6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994EF55B-59CC-9C5F-6890-EC7592C3B8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 sz="900" dirty="0"/>
              <a:t>Unrestricted | © Siemens 2024 | Customer Services | Abril 2024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AFF3659-D0A2-5FDC-31C5-91894412725E}"/>
              </a:ext>
            </a:extLst>
          </p:cNvPr>
          <p:cNvSpPr/>
          <p:nvPr/>
        </p:nvSpPr>
        <p:spPr>
          <a:xfrm>
            <a:off x="410400" y="952106"/>
            <a:ext cx="11371200" cy="5139093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0E9C69D-8E23-8253-0E0E-1BB1E56C61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7371" y="1846433"/>
            <a:ext cx="5325738" cy="4147793"/>
          </a:xfrm>
          <a:prstGeom prst="rect">
            <a:avLst/>
          </a:prstGeom>
          <a:ln w="12700">
            <a:solidFill>
              <a:srgbClr val="FFFFFF"/>
            </a:solidFill>
          </a:ln>
        </p:spPr>
      </p:pic>
    </p:spTree>
    <p:extLst>
      <p:ext uri="{BB962C8B-B14F-4D97-AF65-F5344CB8AC3E}">
        <p14:creationId xmlns:p14="http://schemas.microsoft.com/office/powerpoint/2010/main" val="5168323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4">
            <a:extLst>
              <a:ext uri="{FF2B5EF4-FFF2-40B4-BE49-F238E27FC236}">
                <a16:creationId xmlns:a16="http://schemas.microsoft.com/office/drawing/2014/main" id="{23CAC4B7-D7C8-487D-B5A6-017E8C0811A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9546" r="-9202"/>
          <a:stretch/>
        </p:blipFill>
        <p:spPr>
          <a:xfrm>
            <a:off x="0" y="-2727430"/>
            <a:ext cx="12196799" cy="5769260"/>
          </a:xfrm>
          <a:prstGeom prst="rect">
            <a:avLst/>
          </a:prstGeom>
        </p:spPr>
      </p:pic>
      <p:sp>
        <p:nvSpPr>
          <p:cNvPr id="6" name="Título 5">
            <a:extLst>
              <a:ext uri="{FF2B5EF4-FFF2-40B4-BE49-F238E27FC236}">
                <a16:creationId xmlns:a16="http://schemas.microsoft.com/office/drawing/2014/main" id="{F06AAEF1-DD71-4083-B4B4-B404E5CEB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/>
              <a:t>SIBAS16 | </a:t>
            </a:r>
            <a:r>
              <a:rPr lang="en-US" dirty="0" err="1"/>
              <a:t>Problema</a:t>
            </a:r>
            <a:endParaRPr lang="pt-PT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898ED597-5813-4003-85EB-33B107106643}"/>
              </a:ext>
            </a:extLst>
          </p:cNvPr>
          <p:cNvSpPr txBox="1">
            <a:spLocks/>
          </p:cNvSpPr>
          <p:nvPr/>
        </p:nvSpPr>
        <p:spPr>
          <a:xfrm>
            <a:off x="5905238" y="2930671"/>
            <a:ext cx="6127588" cy="3036991"/>
          </a:xfrm>
          <a:prstGeom prst="rect">
            <a:avLst/>
          </a:prstGeom>
          <a:noFill/>
        </p:spPr>
        <p:txBody>
          <a:bodyPr vert="horz" lIns="432000" tIns="360000" rIns="432000" bIns="3600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ClrTx/>
              <a:buNone/>
            </a:pPr>
            <a:r>
              <a:rPr lang="pt-PT" sz="1600" b="1" dirty="0">
                <a:solidFill>
                  <a:srgbClr val="A6CA56"/>
                </a:solidFill>
              </a:rPr>
              <a:t>Substituição integral de SIBAS16 por novo sistema com riscos associados:</a:t>
            </a:r>
          </a:p>
          <a:p>
            <a:pPr marL="0" lvl="1" indent="0">
              <a:buClrTx/>
              <a:buNone/>
            </a:pPr>
            <a:endParaRPr lang="pt-PT" sz="1600" b="1" dirty="0">
              <a:solidFill>
                <a:srgbClr val="A6CA56"/>
              </a:solidFill>
            </a:endParaRPr>
          </a:p>
          <a:p>
            <a:pPr marL="357188" indent="-268288">
              <a:buFont typeface="Wingdings" panose="05000000000000000000" pitchFamily="2" charset="2"/>
              <a:buChar char="§"/>
            </a:pPr>
            <a:r>
              <a:rPr lang="pt-PT" sz="1400" dirty="0"/>
              <a:t>Processo de homologação complexo e com risco elevado de insucesso;</a:t>
            </a:r>
          </a:p>
          <a:p>
            <a:pPr marL="357188" indent="-268288">
              <a:buFont typeface="Wingdings" panose="05000000000000000000" pitchFamily="2" charset="2"/>
              <a:buChar char="§"/>
            </a:pPr>
            <a:r>
              <a:rPr lang="pt-PT" sz="1400" dirty="0"/>
              <a:t>Longo e dispendioso processo de desenvolvimento para um problema a curto prazo;</a:t>
            </a:r>
          </a:p>
          <a:p>
            <a:pPr marL="357188" indent="-268288">
              <a:buFont typeface="Wingdings" panose="05000000000000000000" pitchFamily="2" charset="2"/>
              <a:buChar char="§"/>
            </a:pPr>
            <a:r>
              <a:rPr lang="pt-PT" sz="1400" dirty="0"/>
              <a:t>Pode requerer a modernização de outros sistemas;</a:t>
            </a:r>
          </a:p>
          <a:p>
            <a:pPr marL="357188" indent="-268288">
              <a:buFont typeface="Wingdings" panose="05000000000000000000" pitchFamily="2" charset="2"/>
              <a:buChar char="§"/>
            </a:pPr>
            <a:r>
              <a:rPr lang="pt-PT" sz="1400" dirty="0"/>
              <a:t>Volume de investimento alto considerando o potencial de vida útil da frota e por comparação com a sua substituição.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73F59BD4-DB7D-47AA-8035-13E22E8DC939}"/>
              </a:ext>
            </a:extLst>
          </p:cNvPr>
          <p:cNvSpPr txBox="1">
            <a:spLocks/>
          </p:cNvSpPr>
          <p:nvPr/>
        </p:nvSpPr>
        <p:spPr>
          <a:xfrm>
            <a:off x="159174" y="2930672"/>
            <a:ext cx="5936826" cy="3197412"/>
          </a:xfrm>
          <a:prstGeom prst="rect">
            <a:avLst/>
          </a:prstGeom>
          <a:noFill/>
        </p:spPr>
        <p:txBody>
          <a:bodyPr vert="horz" lIns="432000" tIns="360000" rIns="432000" bIns="3600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sz="16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Dificuldades na Manutenção SIBAS16:</a:t>
            </a:r>
          </a:p>
          <a:p>
            <a:endParaRPr lang="pt-PT" sz="1600" b="1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  <a:p>
            <a:endParaRPr lang="pt-PT" sz="1600" b="1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  <a:p>
            <a:pPr lvl="1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Escassez de peças de reserva nos operadores;</a:t>
            </a:r>
          </a:p>
          <a:p>
            <a:pPr lvl="1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Componentes descontinuados:</a:t>
            </a:r>
          </a:p>
          <a:p>
            <a:pPr lvl="2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Produção de elementos descontinuada ou limitada;</a:t>
            </a:r>
          </a:p>
          <a:p>
            <a:pPr lvl="2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Reparações limitadas;</a:t>
            </a:r>
          </a:p>
          <a:p>
            <a:pPr lvl="1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Expectativa de redução de fiabilidade.</a:t>
            </a:r>
            <a:endParaRPr lang="pt-PT" dirty="0"/>
          </a:p>
        </p:txBody>
      </p:sp>
      <p:sp>
        <p:nvSpPr>
          <p:cNvPr id="10" name="Foliennummernplatzhalter 3">
            <a:extLst>
              <a:ext uri="{FF2B5EF4-FFF2-40B4-BE49-F238E27FC236}">
                <a16:creationId xmlns:a16="http://schemas.microsoft.com/office/drawing/2014/main" id="{77F20148-C896-4C40-8E6E-1A8B16B2D6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" name="Fußzeilenplatzhalter 2">
            <a:extLst>
              <a:ext uri="{FF2B5EF4-FFF2-40B4-BE49-F238E27FC236}">
                <a16:creationId xmlns:a16="http://schemas.microsoft.com/office/drawing/2014/main" id="{9B88B437-4464-4978-9274-FDF70847C5A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 sz="900" dirty="0"/>
              <a:t>Unrestricted | © Siemens 2024 | Customer Services | Abril 2024</a:t>
            </a:r>
          </a:p>
        </p:txBody>
      </p:sp>
    </p:spTree>
    <p:extLst>
      <p:ext uri="{BB962C8B-B14F-4D97-AF65-F5344CB8AC3E}">
        <p14:creationId xmlns:p14="http://schemas.microsoft.com/office/powerpoint/2010/main" val="16016356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D64408-B5D9-8442-66E4-8CB771D4D7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F99915B-508A-C405-BF17-046F1D4BE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BAS 16 | </a:t>
            </a:r>
            <a:r>
              <a:rPr lang="en-US" dirty="0" err="1"/>
              <a:t>Abordagem</a:t>
            </a:r>
            <a:r>
              <a:rPr lang="en-US" dirty="0"/>
              <a:t> e </a:t>
            </a:r>
            <a:r>
              <a:rPr lang="en-US" dirty="0" err="1"/>
              <a:t>Benefícios</a:t>
            </a:r>
            <a:br>
              <a:rPr lang="en-US" dirty="0"/>
            </a:br>
            <a:endParaRPr lang="pt-PT" b="0" dirty="0"/>
          </a:p>
        </p:txBody>
      </p:sp>
      <p:sp>
        <p:nvSpPr>
          <p:cNvPr id="4" name="Marcador de Posição do Número do Diapositivo 3">
            <a:extLst>
              <a:ext uri="{FF2B5EF4-FFF2-40B4-BE49-F238E27FC236}">
                <a16:creationId xmlns:a16="http://schemas.microsoft.com/office/drawing/2014/main" id="{7CABB32F-24CF-994C-675A-D16DE0BECD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6</a:t>
            </a:fld>
            <a:endParaRPr lang="en-US"/>
          </a:p>
        </p:txBody>
      </p:sp>
      <p:grpSp>
        <p:nvGrpSpPr>
          <p:cNvPr id="351" name="Agrupar 350">
            <a:extLst>
              <a:ext uri="{FF2B5EF4-FFF2-40B4-BE49-F238E27FC236}">
                <a16:creationId xmlns:a16="http://schemas.microsoft.com/office/drawing/2014/main" id="{F0825579-73F2-D5C5-40C1-1F569575C731}"/>
              </a:ext>
            </a:extLst>
          </p:cNvPr>
          <p:cNvGrpSpPr/>
          <p:nvPr/>
        </p:nvGrpSpPr>
        <p:grpSpPr>
          <a:xfrm>
            <a:off x="38209" y="1570869"/>
            <a:ext cx="12106227" cy="228196"/>
            <a:chOff x="0" y="5973620"/>
            <a:chExt cx="12106227" cy="228196"/>
          </a:xfrm>
        </p:grpSpPr>
        <p:grpSp>
          <p:nvGrpSpPr>
            <p:cNvPr id="38" name="Gruppieren 3">
              <a:extLst>
                <a:ext uri="{FF2B5EF4-FFF2-40B4-BE49-F238E27FC236}">
                  <a16:creationId xmlns:a16="http://schemas.microsoft.com/office/drawing/2014/main" id="{D664B8FA-BCA5-C887-7745-90B73364FB2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5984113"/>
              <a:ext cx="5072030" cy="215263"/>
              <a:chOff x="627062" y="5241503"/>
              <a:chExt cx="4405225" cy="171665"/>
            </a:xfrm>
          </p:grpSpPr>
          <p:grpSp>
            <p:nvGrpSpPr>
              <p:cNvPr id="41" name="Group 101">
                <a:extLst>
                  <a:ext uri="{FF2B5EF4-FFF2-40B4-BE49-F238E27FC236}">
                    <a16:creationId xmlns:a16="http://schemas.microsoft.com/office/drawing/2014/main" id="{0593C76C-841E-D2D5-5B1D-69993EA45475}"/>
                  </a:ext>
                </a:extLst>
              </p:cNvPr>
              <p:cNvGrpSpPr/>
              <p:nvPr/>
            </p:nvGrpSpPr>
            <p:grpSpPr bwMode="gray">
              <a:xfrm>
                <a:off x="760108" y="5362690"/>
                <a:ext cx="3275710" cy="50478"/>
                <a:chOff x="4300063" y="3282246"/>
                <a:chExt cx="3317581" cy="51123"/>
              </a:xfrm>
              <a:solidFill>
                <a:srgbClr val="4BB9B9"/>
              </a:solidFill>
            </p:grpSpPr>
            <p:sp>
              <p:nvSpPr>
                <p:cNvPr id="82" name="Freeform 886">
                  <a:extLst>
                    <a:ext uri="{FF2B5EF4-FFF2-40B4-BE49-F238E27FC236}">
                      <a16:creationId xmlns:a16="http://schemas.microsoft.com/office/drawing/2014/main" id="{E19EE60A-DDA2-3F02-0A32-38E2D3C8A53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300063" y="3284040"/>
                  <a:ext cx="30495" cy="49329"/>
                </a:xfrm>
                <a:custGeom>
                  <a:avLst/>
                  <a:gdLst>
                    <a:gd name="T0" fmla="*/ 15 w 34"/>
                    <a:gd name="T1" fmla="*/ 12 h 55"/>
                    <a:gd name="T2" fmla="*/ 5 w 34"/>
                    <a:gd name="T3" fmla="*/ 18 h 55"/>
                    <a:gd name="T4" fmla="*/ 0 w 34"/>
                    <a:gd name="T5" fmla="*/ 10 h 55"/>
                    <a:gd name="T6" fmla="*/ 17 w 34"/>
                    <a:gd name="T7" fmla="*/ 0 h 55"/>
                    <a:gd name="T8" fmla="*/ 27 w 34"/>
                    <a:gd name="T9" fmla="*/ 0 h 55"/>
                    <a:gd name="T10" fmla="*/ 27 w 34"/>
                    <a:gd name="T11" fmla="*/ 44 h 55"/>
                    <a:gd name="T12" fmla="*/ 34 w 34"/>
                    <a:gd name="T13" fmla="*/ 46 h 55"/>
                    <a:gd name="T14" fmla="*/ 34 w 34"/>
                    <a:gd name="T15" fmla="*/ 55 h 55"/>
                    <a:gd name="T16" fmla="*/ 9 w 34"/>
                    <a:gd name="T17" fmla="*/ 55 h 55"/>
                    <a:gd name="T18" fmla="*/ 9 w 34"/>
                    <a:gd name="T19" fmla="*/ 46 h 55"/>
                    <a:gd name="T20" fmla="*/ 15 w 34"/>
                    <a:gd name="T21" fmla="*/ 44 h 55"/>
                    <a:gd name="T22" fmla="*/ 15 w 34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4" y="46"/>
                      </a:lnTo>
                      <a:lnTo>
                        <a:pt x="34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83" name="Freeform 887">
                  <a:extLst>
                    <a:ext uri="{FF2B5EF4-FFF2-40B4-BE49-F238E27FC236}">
                      <a16:creationId xmlns:a16="http://schemas.microsoft.com/office/drawing/2014/main" id="{F6E032DB-97D0-1743-E023-50EEECA6168F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384369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84" name="Freeform 888">
                  <a:extLst>
                    <a:ext uri="{FF2B5EF4-FFF2-40B4-BE49-F238E27FC236}">
                      <a16:creationId xmlns:a16="http://schemas.microsoft.com/office/drawing/2014/main" id="{C0F45F33-74F3-3BE7-975F-1D9D5CC4306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472265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30 w 36"/>
                    <a:gd name="T9" fmla="*/ 0 h 55"/>
                    <a:gd name="T10" fmla="*/ 30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30" y="0"/>
                      </a:lnTo>
                      <a:lnTo>
                        <a:pt x="30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85" name="Freeform 889">
                  <a:extLst>
                    <a:ext uri="{FF2B5EF4-FFF2-40B4-BE49-F238E27FC236}">
                      <a16:creationId xmlns:a16="http://schemas.microsoft.com/office/drawing/2014/main" id="{5D16829D-C09F-F648-D05E-6BED6142BFCB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557468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86" name="Freeform 890">
                  <a:extLst>
                    <a:ext uri="{FF2B5EF4-FFF2-40B4-BE49-F238E27FC236}">
                      <a16:creationId xmlns:a16="http://schemas.microsoft.com/office/drawing/2014/main" id="{6293E88E-5768-4FBE-19CD-2EC96E33CFC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45364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7 w 36"/>
                    <a:gd name="T3" fmla="*/ 18 h 55"/>
                    <a:gd name="T4" fmla="*/ 0 w 36"/>
                    <a:gd name="T5" fmla="*/ 10 h 55"/>
                    <a:gd name="T6" fmla="*/ 19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0 w 36"/>
                    <a:gd name="T17" fmla="*/ 55 h 55"/>
                    <a:gd name="T18" fmla="*/ 10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7" y="18"/>
                      </a:lnTo>
                      <a:lnTo>
                        <a:pt x="0" y="10"/>
                      </a:lnTo>
                      <a:lnTo>
                        <a:pt x="19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0" y="55"/>
                      </a:lnTo>
                      <a:lnTo>
                        <a:pt x="10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87" name="Freeform 891">
                  <a:extLst>
                    <a:ext uri="{FF2B5EF4-FFF2-40B4-BE49-F238E27FC236}">
                      <a16:creationId xmlns:a16="http://schemas.microsoft.com/office/drawing/2014/main" id="{FD463F5C-CC8D-2C2B-D4C1-07CC7DF660FE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731464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1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7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6" y="33"/>
                        <a:pt x="12" y="33"/>
                      </a:cubicBezTo>
                      <a:cubicBezTo>
                        <a:pt x="7" y="33"/>
                        <a:pt x="3" y="31"/>
                        <a:pt x="1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8" y="28"/>
                        <a:pt x="12" y="28"/>
                      </a:cubicBezTo>
                      <a:cubicBezTo>
                        <a:pt x="16" y="28"/>
                        <a:pt x="17" y="24"/>
                        <a:pt x="17" y="17"/>
                      </a:cubicBezTo>
                      <a:cubicBezTo>
                        <a:pt x="17" y="9"/>
                        <a:pt x="16" y="6"/>
                        <a:pt x="12" y="6"/>
                      </a:cubicBezTo>
                      <a:cubicBezTo>
                        <a:pt x="8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88" name="Freeform 892">
                  <a:extLst>
                    <a:ext uri="{FF2B5EF4-FFF2-40B4-BE49-F238E27FC236}">
                      <a16:creationId xmlns:a16="http://schemas.microsoft.com/office/drawing/2014/main" id="{75033806-BA36-A43E-6B9C-7DD71B424EA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819360" y="3284040"/>
                  <a:ext cx="30495" cy="49329"/>
                </a:xfrm>
                <a:custGeom>
                  <a:avLst/>
                  <a:gdLst>
                    <a:gd name="T0" fmla="*/ 15 w 34"/>
                    <a:gd name="T1" fmla="*/ 12 h 55"/>
                    <a:gd name="T2" fmla="*/ 5 w 34"/>
                    <a:gd name="T3" fmla="*/ 18 h 55"/>
                    <a:gd name="T4" fmla="*/ 0 w 34"/>
                    <a:gd name="T5" fmla="*/ 10 h 55"/>
                    <a:gd name="T6" fmla="*/ 17 w 34"/>
                    <a:gd name="T7" fmla="*/ 0 h 55"/>
                    <a:gd name="T8" fmla="*/ 27 w 34"/>
                    <a:gd name="T9" fmla="*/ 0 h 55"/>
                    <a:gd name="T10" fmla="*/ 27 w 34"/>
                    <a:gd name="T11" fmla="*/ 44 h 55"/>
                    <a:gd name="T12" fmla="*/ 34 w 34"/>
                    <a:gd name="T13" fmla="*/ 46 h 55"/>
                    <a:gd name="T14" fmla="*/ 34 w 34"/>
                    <a:gd name="T15" fmla="*/ 55 h 55"/>
                    <a:gd name="T16" fmla="*/ 8 w 34"/>
                    <a:gd name="T17" fmla="*/ 55 h 55"/>
                    <a:gd name="T18" fmla="*/ 8 w 34"/>
                    <a:gd name="T19" fmla="*/ 46 h 55"/>
                    <a:gd name="T20" fmla="*/ 15 w 34"/>
                    <a:gd name="T21" fmla="*/ 44 h 55"/>
                    <a:gd name="T22" fmla="*/ 15 w 34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4" y="46"/>
                      </a:lnTo>
                      <a:lnTo>
                        <a:pt x="34" y="55"/>
                      </a:lnTo>
                      <a:lnTo>
                        <a:pt x="8" y="55"/>
                      </a:lnTo>
                      <a:lnTo>
                        <a:pt x="8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89" name="Freeform 893">
                  <a:extLst>
                    <a:ext uri="{FF2B5EF4-FFF2-40B4-BE49-F238E27FC236}">
                      <a16:creationId xmlns:a16="http://schemas.microsoft.com/office/drawing/2014/main" id="{4C686661-CD2B-917B-60CB-B7067DD6F46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905461" y="3284040"/>
                  <a:ext cx="32287" cy="49329"/>
                </a:xfrm>
                <a:custGeom>
                  <a:avLst/>
                  <a:gdLst>
                    <a:gd name="T0" fmla="*/ 15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7 w 36"/>
                    <a:gd name="T9" fmla="*/ 0 h 55"/>
                    <a:gd name="T10" fmla="*/ 27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8 w 36"/>
                    <a:gd name="T17" fmla="*/ 55 h 55"/>
                    <a:gd name="T18" fmla="*/ 8 w 36"/>
                    <a:gd name="T19" fmla="*/ 46 h 55"/>
                    <a:gd name="T20" fmla="*/ 15 w 36"/>
                    <a:gd name="T21" fmla="*/ 44 h 55"/>
                    <a:gd name="T22" fmla="*/ 15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8" y="55"/>
                      </a:lnTo>
                      <a:lnTo>
                        <a:pt x="8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90" name="Freeform 894">
                  <a:extLst>
                    <a:ext uri="{FF2B5EF4-FFF2-40B4-BE49-F238E27FC236}">
                      <a16:creationId xmlns:a16="http://schemas.microsoft.com/office/drawing/2014/main" id="{4B6EA42E-9A2E-9E55-FADB-DA185BEF08B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991562" y="3284040"/>
                  <a:ext cx="32287" cy="49329"/>
                </a:xfrm>
                <a:custGeom>
                  <a:avLst/>
                  <a:gdLst>
                    <a:gd name="T0" fmla="*/ 15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7 w 36"/>
                    <a:gd name="T9" fmla="*/ 0 h 55"/>
                    <a:gd name="T10" fmla="*/ 27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5 w 36"/>
                    <a:gd name="T21" fmla="*/ 44 h 55"/>
                    <a:gd name="T22" fmla="*/ 15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91" name="Freeform 895">
                  <a:extLst>
                    <a:ext uri="{FF2B5EF4-FFF2-40B4-BE49-F238E27FC236}">
                      <a16:creationId xmlns:a16="http://schemas.microsoft.com/office/drawing/2014/main" id="{7CDC43B1-0033-3010-78C6-56DA968D3A3B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075869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92" name="Freeform 896">
                  <a:extLst>
                    <a:ext uri="{FF2B5EF4-FFF2-40B4-BE49-F238E27FC236}">
                      <a16:creationId xmlns:a16="http://schemas.microsoft.com/office/drawing/2014/main" id="{64212323-9297-EBE0-3AEC-C3823025B77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63765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1 w 36"/>
                    <a:gd name="T17" fmla="*/ 55 h 55"/>
                    <a:gd name="T18" fmla="*/ 11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1" y="55"/>
                      </a:lnTo>
                      <a:lnTo>
                        <a:pt x="11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93" name="Freeform 897">
                  <a:extLst>
                    <a:ext uri="{FF2B5EF4-FFF2-40B4-BE49-F238E27FC236}">
                      <a16:creationId xmlns:a16="http://schemas.microsoft.com/office/drawing/2014/main" id="{3606A98B-1001-4A58-A5BF-D4C79022F736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248968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8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8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5" y="26"/>
                        <a:pt x="23" y="29"/>
                      </a:cubicBezTo>
                      <a:cubicBezTo>
                        <a:pt x="21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5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8" y="16"/>
                      </a:moveTo>
                      <a:cubicBezTo>
                        <a:pt x="8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8" y="9"/>
                        <a:pt x="8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94" name="Freeform 898">
                  <a:extLst>
                    <a:ext uri="{FF2B5EF4-FFF2-40B4-BE49-F238E27FC236}">
                      <a16:creationId xmlns:a16="http://schemas.microsoft.com/office/drawing/2014/main" id="{EBC5B102-C82C-CE2D-35D0-DF9C1C5F0E7F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336863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1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7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6" y="33"/>
                        <a:pt x="12" y="33"/>
                      </a:cubicBezTo>
                      <a:cubicBezTo>
                        <a:pt x="7" y="33"/>
                        <a:pt x="3" y="31"/>
                        <a:pt x="1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8" y="28"/>
                        <a:pt x="12" y="28"/>
                      </a:cubicBezTo>
                      <a:cubicBezTo>
                        <a:pt x="16" y="28"/>
                        <a:pt x="17" y="24"/>
                        <a:pt x="17" y="17"/>
                      </a:cubicBezTo>
                      <a:cubicBezTo>
                        <a:pt x="17" y="9"/>
                        <a:pt x="16" y="6"/>
                        <a:pt x="12" y="6"/>
                      </a:cubicBezTo>
                      <a:cubicBezTo>
                        <a:pt x="8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95" name="Freeform 899">
                  <a:extLst>
                    <a:ext uri="{FF2B5EF4-FFF2-40B4-BE49-F238E27FC236}">
                      <a16:creationId xmlns:a16="http://schemas.microsoft.com/office/drawing/2014/main" id="{8DCE1648-DFEE-E5E2-A843-D31F20E29F4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23862" y="3284040"/>
                  <a:ext cx="31391" cy="49329"/>
                </a:xfrm>
                <a:custGeom>
                  <a:avLst/>
                  <a:gdLst>
                    <a:gd name="T0" fmla="*/ 16 w 35"/>
                    <a:gd name="T1" fmla="*/ 12 h 55"/>
                    <a:gd name="T2" fmla="*/ 6 w 35"/>
                    <a:gd name="T3" fmla="*/ 18 h 55"/>
                    <a:gd name="T4" fmla="*/ 0 w 35"/>
                    <a:gd name="T5" fmla="*/ 10 h 55"/>
                    <a:gd name="T6" fmla="*/ 18 w 35"/>
                    <a:gd name="T7" fmla="*/ 0 h 55"/>
                    <a:gd name="T8" fmla="*/ 28 w 35"/>
                    <a:gd name="T9" fmla="*/ 0 h 55"/>
                    <a:gd name="T10" fmla="*/ 28 w 35"/>
                    <a:gd name="T11" fmla="*/ 44 h 55"/>
                    <a:gd name="T12" fmla="*/ 35 w 35"/>
                    <a:gd name="T13" fmla="*/ 46 h 55"/>
                    <a:gd name="T14" fmla="*/ 35 w 35"/>
                    <a:gd name="T15" fmla="*/ 55 h 55"/>
                    <a:gd name="T16" fmla="*/ 9 w 35"/>
                    <a:gd name="T17" fmla="*/ 55 h 55"/>
                    <a:gd name="T18" fmla="*/ 9 w 35"/>
                    <a:gd name="T19" fmla="*/ 46 h 55"/>
                    <a:gd name="T20" fmla="*/ 16 w 35"/>
                    <a:gd name="T21" fmla="*/ 44 h 55"/>
                    <a:gd name="T22" fmla="*/ 16 w 35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5" h="55">
                      <a:moveTo>
                        <a:pt x="16" y="12"/>
                      </a:moveTo>
                      <a:lnTo>
                        <a:pt x="6" y="18"/>
                      </a:lnTo>
                      <a:lnTo>
                        <a:pt x="0" y="10"/>
                      </a:lnTo>
                      <a:lnTo>
                        <a:pt x="18" y="0"/>
                      </a:lnTo>
                      <a:lnTo>
                        <a:pt x="28" y="0"/>
                      </a:lnTo>
                      <a:lnTo>
                        <a:pt x="28" y="44"/>
                      </a:lnTo>
                      <a:lnTo>
                        <a:pt x="35" y="46"/>
                      </a:lnTo>
                      <a:lnTo>
                        <a:pt x="35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6" y="4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96" name="Freeform 900">
                  <a:extLst>
                    <a:ext uri="{FF2B5EF4-FFF2-40B4-BE49-F238E27FC236}">
                      <a16:creationId xmlns:a16="http://schemas.microsoft.com/office/drawing/2014/main" id="{F390F812-FA15-A682-0C9B-08EBB11325E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10860" y="3284040"/>
                  <a:ext cx="32287" cy="49329"/>
                </a:xfrm>
                <a:custGeom>
                  <a:avLst/>
                  <a:gdLst>
                    <a:gd name="T0" fmla="*/ 15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7 w 36"/>
                    <a:gd name="T9" fmla="*/ 0 h 55"/>
                    <a:gd name="T10" fmla="*/ 27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8 w 36"/>
                    <a:gd name="T17" fmla="*/ 55 h 55"/>
                    <a:gd name="T18" fmla="*/ 8 w 36"/>
                    <a:gd name="T19" fmla="*/ 46 h 55"/>
                    <a:gd name="T20" fmla="*/ 15 w 36"/>
                    <a:gd name="T21" fmla="*/ 44 h 55"/>
                    <a:gd name="T22" fmla="*/ 15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8" y="55"/>
                      </a:lnTo>
                      <a:lnTo>
                        <a:pt x="8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97" name="Freeform 901">
                  <a:extLst>
                    <a:ext uri="{FF2B5EF4-FFF2-40B4-BE49-F238E27FC236}">
                      <a16:creationId xmlns:a16="http://schemas.microsoft.com/office/drawing/2014/main" id="{B24DD772-CB14-1046-0468-1A0C15EEC1D2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595166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98" name="Freeform 902">
                  <a:extLst>
                    <a:ext uri="{FF2B5EF4-FFF2-40B4-BE49-F238E27FC236}">
                      <a16:creationId xmlns:a16="http://schemas.microsoft.com/office/drawing/2014/main" id="{D4C1455D-D695-8D70-461C-CA7F95912DE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83062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99" name="Freeform 903">
                  <a:extLst>
                    <a:ext uri="{FF2B5EF4-FFF2-40B4-BE49-F238E27FC236}">
                      <a16:creationId xmlns:a16="http://schemas.microsoft.com/office/drawing/2014/main" id="{A6DAC400-6CE0-3C8F-7BD3-ECC86591731E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767368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3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00" name="Freeform 904">
                  <a:extLst>
                    <a:ext uri="{FF2B5EF4-FFF2-40B4-BE49-F238E27FC236}">
                      <a16:creationId xmlns:a16="http://schemas.microsoft.com/office/drawing/2014/main" id="{084E4565-3C46-C140-FAAF-CABD0CB30D5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855263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7 w 36"/>
                    <a:gd name="T3" fmla="*/ 18 h 55"/>
                    <a:gd name="T4" fmla="*/ 0 w 36"/>
                    <a:gd name="T5" fmla="*/ 10 h 55"/>
                    <a:gd name="T6" fmla="*/ 19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1 w 36"/>
                    <a:gd name="T17" fmla="*/ 55 h 55"/>
                    <a:gd name="T18" fmla="*/ 11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7" y="18"/>
                      </a:lnTo>
                      <a:lnTo>
                        <a:pt x="0" y="10"/>
                      </a:lnTo>
                      <a:lnTo>
                        <a:pt x="19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1" y="55"/>
                      </a:lnTo>
                      <a:lnTo>
                        <a:pt x="11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01" name="Freeform 905">
                  <a:extLst>
                    <a:ext uri="{FF2B5EF4-FFF2-40B4-BE49-F238E27FC236}">
                      <a16:creationId xmlns:a16="http://schemas.microsoft.com/office/drawing/2014/main" id="{BA037316-B476-F1D7-57E0-D96C69F1353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943158" y="3284040"/>
                  <a:ext cx="30495" cy="49329"/>
                </a:xfrm>
                <a:custGeom>
                  <a:avLst/>
                  <a:gdLst>
                    <a:gd name="T0" fmla="*/ 16 w 34"/>
                    <a:gd name="T1" fmla="*/ 12 h 55"/>
                    <a:gd name="T2" fmla="*/ 5 w 34"/>
                    <a:gd name="T3" fmla="*/ 18 h 55"/>
                    <a:gd name="T4" fmla="*/ 0 w 34"/>
                    <a:gd name="T5" fmla="*/ 10 h 55"/>
                    <a:gd name="T6" fmla="*/ 17 w 34"/>
                    <a:gd name="T7" fmla="*/ 0 h 55"/>
                    <a:gd name="T8" fmla="*/ 28 w 34"/>
                    <a:gd name="T9" fmla="*/ 0 h 55"/>
                    <a:gd name="T10" fmla="*/ 28 w 34"/>
                    <a:gd name="T11" fmla="*/ 44 h 55"/>
                    <a:gd name="T12" fmla="*/ 34 w 34"/>
                    <a:gd name="T13" fmla="*/ 46 h 55"/>
                    <a:gd name="T14" fmla="*/ 34 w 34"/>
                    <a:gd name="T15" fmla="*/ 55 h 55"/>
                    <a:gd name="T16" fmla="*/ 9 w 34"/>
                    <a:gd name="T17" fmla="*/ 55 h 55"/>
                    <a:gd name="T18" fmla="*/ 9 w 34"/>
                    <a:gd name="T19" fmla="*/ 46 h 55"/>
                    <a:gd name="T20" fmla="*/ 16 w 34"/>
                    <a:gd name="T21" fmla="*/ 44 h 55"/>
                    <a:gd name="T22" fmla="*/ 16 w 34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55">
                      <a:moveTo>
                        <a:pt x="16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8" y="0"/>
                      </a:lnTo>
                      <a:lnTo>
                        <a:pt x="28" y="44"/>
                      </a:lnTo>
                      <a:lnTo>
                        <a:pt x="34" y="46"/>
                      </a:lnTo>
                      <a:lnTo>
                        <a:pt x="34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6" y="4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02" name="Freeform 906">
                  <a:extLst>
                    <a:ext uri="{FF2B5EF4-FFF2-40B4-BE49-F238E27FC236}">
                      <a16:creationId xmlns:a16="http://schemas.microsoft.com/office/drawing/2014/main" id="{3EAA780A-CB1E-7179-F962-5F0AA4958F94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028362" y="3282246"/>
                  <a:ext cx="37669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7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7" y="24"/>
                        <a:pt x="17" y="17"/>
                      </a:cubicBezTo>
                      <a:cubicBezTo>
                        <a:pt x="17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03" name="Freeform 907">
                  <a:extLst>
                    <a:ext uri="{FF2B5EF4-FFF2-40B4-BE49-F238E27FC236}">
                      <a16:creationId xmlns:a16="http://schemas.microsoft.com/office/drawing/2014/main" id="{7D2D6BC1-6E71-CBEF-BCAE-5156549AF769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114462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04" name="Freeform 908">
                  <a:extLst>
                    <a:ext uri="{FF2B5EF4-FFF2-40B4-BE49-F238E27FC236}">
                      <a16:creationId xmlns:a16="http://schemas.microsoft.com/office/drawing/2014/main" id="{99FCBE38-9918-3222-6003-B57827E582F3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200563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05" name="Freeform 909">
                  <a:extLst>
                    <a:ext uri="{FF2B5EF4-FFF2-40B4-BE49-F238E27FC236}">
                      <a16:creationId xmlns:a16="http://schemas.microsoft.com/office/drawing/2014/main" id="{A4C33295-990E-9F7C-D2EC-DD92BB6F65C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288459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8 w 36"/>
                    <a:gd name="T17" fmla="*/ 55 h 55"/>
                    <a:gd name="T18" fmla="*/ 8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8" y="55"/>
                      </a:lnTo>
                      <a:lnTo>
                        <a:pt x="8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06" name="Freeform 910">
                  <a:extLst>
                    <a:ext uri="{FF2B5EF4-FFF2-40B4-BE49-F238E27FC236}">
                      <a16:creationId xmlns:a16="http://schemas.microsoft.com/office/drawing/2014/main" id="{576D77C7-68A9-0100-B786-197461E2DF76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372766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8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8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3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8" y="16"/>
                      </a:moveTo>
                      <a:cubicBezTo>
                        <a:pt x="8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8" y="9"/>
                        <a:pt x="8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07" name="Freeform 911">
                  <a:extLst>
                    <a:ext uri="{FF2B5EF4-FFF2-40B4-BE49-F238E27FC236}">
                      <a16:creationId xmlns:a16="http://schemas.microsoft.com/office/drawing/2014/main" id="{01BB28A2-D5C1-1330-2F2A-55B4BEF7697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460661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7 w 36"/>
                    <a:gd name="T3" fmla="*/ 18 h 55"/>
                    <a:gd name="T4" fmla="*/ 0 w 36"/>
                    <a:gd name="T5" fmla="*/ 10 h 55"/>
                    <a:gd name="T6" fmla="*/ 19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0 w 36"/>
                    <a:gd name="T17" fmla="*/ 55 h 55"/>
                    <a:gd name="T18" fmla="*/ 10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7" y="18"/>
                      </a:lnTo>
                      <a:lnTo>
                        <a:pt x="0" y="10"/>
                      </a:lnTo>
                      <a:lnTo>
                        <a:pt x="19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0" y="55"/>
                      </a:lnTo>
                      <a:lnTo>
                        <a:pt x="10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08" name="Freeform 912">
                  <a:extLst>
                    <a:ext uri="{FF2B5EF4-FFF2-40B4-BE49-F238E27FC236}">
                      <a16:creationId xmlns:a16="http://schemas.microsoft.com/office/drawing/2014/main" id="{8E358E87-16FE-BEEC-4403-35E770F7082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548556" y="3284040"/>
                  <a:ext cx="30495" cy="49329"/>
                </a:xfrm>
                <a:custGeom>
                  <a:avLst/>
                  <a:gdLst>
                    <a:gd name="T0" fmla="*/ 15 w 34"/>
                    <a:gd name="T1" fmla="*/ 12 h 55"/>
                    <a:gd name="T2" fmla="*/ 5 w 34"/>
                    <a:gd name="T3" fmla="*/ 18 h 55"/>
                    <a:gd name="T4" fmla="*/ 0 w 34"/>
                    <a:gd name="T5" fmla="*/ 10 h 55"/>
                    <a:gd name="T6" fmla="*/ 17 w 34"/>
                    <a:gd name="T7" fmla="*/ 0 h 55"/>
                    <a:gd name="T8" fmla="*/ 27 w 34"/>
                    <a:gd name="T9" fmla="*/ 0 h 55"/>
                    <a:gd name="T10" fmla="*/ 27 w 34"/>
                    <a:gd name="T11" fmla="*/ 44 h 55"/>
                    <a:gd name="T12" fmla="*/ 34 w 34"/>
                    <a:gd name="T13" fmla="*/ 46 h 55"/>
                    <a:gd name="T14" fmla="*/ 34 w 34"/>
                    <a:gd name="T15" fmla="*/ 55 h 55"/>
                    <a:gd name="T16" fmla="*/ 9 w 34"/>
                    <a:gd name="T17" fmla="*/ 55 h 55"/>
                    <a:gd name="T18" fmla="*/ 9 w 34"/>
                    <a:gd name="T19" fmla="*/ 46 h 55"/>
                    <a:gd name="T20" fmla="*/ 15 w 34"/>
                    <a:gd name="T21" fmla="*/ 44 h 55"/>
                    <a:gd name="T22" fmla="*/ 15 w 34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4" y="46"/>
                      </a:lnTo>
                      <a:lnTo>
                        <a:pt x="34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09" name="Freeform 913">
                  <a:extLst>
                    <a:ext uri="{FF2B5EF4-FFF2-40B4-BE49-F238E27FC236}">
                      <a16:creationId xmlns:a16="http://schemas.microsoft.com/office/drawing/2014/main" id="{C9071A80-F8AF-A05D-8729-826BBB676800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632863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10" name="Freeform 914">
                  <a:extLst>
                    <a:ext uri="{FF2B5EF4-FFF2-40B4-BE49-F238E27FC236}">
                      <a16:creationId xmlns:a16="http://schemas.microsoft.com/office/drawing/2014/main" id="{63F602B6-C6F0-DD4D-C340-BAF64176176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720759" y="3284040"/>
                  <a:ext cx="32287" cy="49329"/>
                </a:xfrm>
                <a:custGeom>
                  <a:avLst/>
                  <a:gdLst>
                    <a:gd name="T0" fmla="*/ 16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8 w 36"/>
                    <a:gd name="T9" fmla="*/ 0 h 55"/>
                    <a:gd name="T10" fmla="*/ 28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6 w 36"/>
                    <a:gd name="T21" fmla="*/ 44 h 55"/>
                    <a:gd name="T22" fmla="*/ 16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6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8" y="0"/>
                      </a:lnTo>
                      <a:lnTo>
                        <a:pt x="28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6" y="4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11" name="Freeform 915">
                  <a:extLst>
                    <a:ext uri="{FF2B5EF4-FFF2-40B4-BE49-F238E27FC236}">
                      <a16:creationId xmlns:a16="http://schemas.microsoft.com/office/drawing/2014/main" id="{BA6585C8-4BB5-4530-1C75-663F4856A6F8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805962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12" name="Freeform 916">
                  <a:extLst>
                    <a:ext uri="{FF2B5EF4-FFF2-40B4-BE49-F238E27FC236}">
                      <a16:creationId xmlns:a16="http://schemas.microsoft.com/office/drawing/2014/main" id="{79C41085-3B84-DE4A-0858-869A856601F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893858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0 w 36"/>
                    <a:gd name="T17" fmla="*/ 55 h 55"/>
                    <a:gd name="T18" fmla="*/ 10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0" y="55"/>
                      </a:lnTo>
                      <a:lnTo>
                        <a:pt x="10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13" name="Freeform 917">
                  <a:extLst>
                    <a:ext uri="{FF2B5EF4-FFF2-40B4-BE49-F238E27FC236}">
                      <a16:creationId xmlns:a16="http://schemas.microsoft.com/office/drawing/2014/main" id="{FEDAB880-0479-A50B-0558-5FCBEC334361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978164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8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8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3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8" y="16"/>
                      </a:moveTo>
                      <a:cubicBezTo>
                        <a:pt x="8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8" y="9"/>
                        <a:pt x="8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14" name="Freeform 918">
                  <a:extLst>
                    <a:ext uri="{FF2B5EF4-FFF2-40B4-BE49-F238E27FC236}">
                      <a16:creationId xmlns:a16="http://schemas.microsoft.com/office/drawing/2014/main" id="{F37A4C2C-C483-0F5C-2FF1-CA531C9CED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064265" y="3282246"/>
                  <a:ext cx="38566" cy="51123"/>
                </a:xfrm>
                <a:custGeom>
                  <a:avLst/>
                  <a:gdLst>
                    <a:gd name="T0" fmla="*/ 24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4 w 25"/>
                    <a:gd name="T15" fmla="*/ 6 h 33"/>
                    <a:gd name="T16" fmla="*/ 8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8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4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5" y="26"/>
                        <a:pt x="23" y="29"/>
                      </a:cubicBezTo>
                      <a:cubicBezTo>
                        <a:pt x="21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5" y="0"/>
                        <a:pt x="13" y="0"/>
                      </a:cubicBezTo>
                      <a:cubicBezTo>
                        <a:pt x="18" y="0"/>
                        <a:pt x="22" y="2"/>
                        <a:pt x="24" y="6"/>
                      </a:cubicBezTo>
                      <a:close/>
                      <a:moveTo>
                        <a:pt x="8" y="16"/>
                      </a:moveTo>
                      <a:cubicBezTo>
                        <a:pt x="8" y="24"/>
                        <a:pt x="9" y="28"/>
                        <a:pt x="13" y="28"/>
                      </a:cubicBezTo>
                      <a:cubicBezTo>
                        <a:pt x="17" y="28"/>
                        <a:pt x="18" y="24"/>
                        <a:pt x="18" y="17"/>
                      </a:cubicBezTo>
                      <a:cubicBezTo>
                        <a:pt x="18" y="9"/>
                        <a:pt x="17" y="6"/>
                        <a:pt x="13" y="6"/>
                      </a:cubicBezTo>
                      <a:cubicBezTo>
                        <a:pt x="9" y="6"/>
                        <a:pt x="8" y="9"/>
                        <a:pt x="8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15" name="Freeform 919">
                  <a:extLst>
                    <a:ext uri="{FF2B5EF4-FFF2-40B4-BE49-F238E27FC236}">
                      <a16:creationId xmlns:a16="http://schemas.microsoft.com/office/drawing/2014/main" id="{A7953792-9A17-0737-4D57-97CCE3231ECD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152160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7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6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8" y="28"/>
                        <a:pt x="12" y="28"/>
                      </a:cubicBezTo>
                      <a:cubicBezTo>
                        <a:pt x="16" y="28"/>
                        <a:pt x="17" y="24"/>
                        <a:pt x="17" y="17"/>
                      </a:cubicBezTo>
                      <a:cubicBezTo>
                        <a:pt x="17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16" name="Freeform 920">
                  <a:extLst>
                    <a:ext uri="{FF2B5EF4-FFF2-40B4-BE49-F238E27FC236}">
                      <a16:creationId xmlns:a16="http://schemas.microsoft.com/office/drawing/2014/main" id="{03B4F00D-53BF-452D-0567-4C8A25B2C5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238261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17" name="Freeform 921">
                  <a:extLst>
                    <a:ext uri="{FF2B5EF4-FFF2-40B4-BE49-F238E27FC236}">
                      <a16:creationId xmlns:a16="http://schemas.microsoft.com/office/drawing/2014/main" id="{FB81A42B-8C33-A01C-5894-3BBCDD9F33D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326157" y="3284040"/>
                  <a:ext cx="32287" cy="49329"/>
                </a:xfrm>
                <a:custGeom>
                  <a:avLst/>
                  <a:gdLst>
                    <a:gd name="T0" fmla="*/ 16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8 w 36"/>
                    <a:gd name="T9" fmla="*/ 0 h 55"/>
                    <a:gd name="T10" fmla="*/ 28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6 w 36"/>
                    <a:gd name="T21" fmla="*/ 44 h 55"/>
                    <a:gd name="T22" fmla="*/ 16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6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8" y="0"/>
                      </a:lnTo>
                      <a:lnTo>
                        <a:pt x="28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6" y="4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18" name="Freeform 922">
                  <a:extLst>
                    <a:ext uri="{FF2B5EF4-FFF2-40B4-BE49-F238E27FC236}">
                      <a16:creationId xmlns:a16="http://schemas.microsoft.com/office/drawing/2014/main" id="{F849321C-24D2-2847-0D00-8642DB4A4C63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411361" y="3282246"/>
                  <a:ext cx="37669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19" name="Freeform 923">
                  <a:extLst>
                    <a:ext uri="{FF2B5EF4-FFF2-40B4-BE49-F238E27FC236}">
                      <a16:creationId xmlns:a16="http://schemas.microsoft.com/office/drawing/2014/main" id="{ADE1465F-EDE6-A4D6-97E3-E16C76CDBEBA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497461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20" name="Freeform 924">
                  <a:extLst>
                    <a:ext uri="{FF2B5EF4-FFF2-40B4-BE49-F238E27FC236}">
                      <a16:creationId xmlns:a16="http://schemas.microsoft.com/office/drawing/2014/main" id="{2BBF1965-0383-B9FD-2AA1-8482195C5E6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585357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6 w 36"/>
                    <a:gd name="T3" fmla="*/ 18 h 55"/>
                    <a:gd name="T4" fmla="*/ 0 w 36"/>
                    <a:gd name="T5" fmla="*/ 10 h 55"/>
                    <a:gd name="T6" fmla="*/ 18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0 w 36"/>
                    <a:gd name="T17" fmla="*/ 55 h 55"/>
                    <a:gd name="T18" fmla="*/ 10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6" y="18"/>
                      </a:lnTo>
                      <a:lnTo>
                        <a:pt x="0" y="10"/>
                      </a:lnTo>
                      <a:lnTo>
                        <a:pt x="18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0" y="55"/>
                      </a:lnTo>
                      <a:lnTo>
                        <a:pt x="10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</p:grpSp>
          <p:grpSp>
            <p:nvGrpSpPr>
              <p:cNvPr id="42" name="Group 141">
                <a:extLst>
                  <a:ext uri="{FF2B5EF4-FFF2-40B4-BE49-F238E27FC236}">
                    <a16:creationId xmlns:a16="http://schemas.microsoft.com/office/drawing/2014/main" id="{CD198662-1058-9268-9FA3-36DB907F75E4}"/>
                  </a:ext>
                </a:extLst>
              </p:cNvPr>
              <p:cNvGrpSpPr/>
              <p:nvPr/>
            </p:nvGrpSpPr>
            <p:grpSpPr bwMode="gray">
              <a:xfrm>
                <a:off x="627062" y="5241503"/>
                <a:ext cx="4405225" cy="67883"/>
                <a:chOff x="4300063" y="3282246"/>
                <a:chExt cx="3317581" cy="51123"/>
              </a:xfrm>
              <a:solidFill>
                <a:srgbClr val="0F8287"/>
              </a:solidFill>
            </p:grpSpPr>
            <p:sp>
              <p:nvSpPr>
                <p:cNvPr id="43" name="Freeform 886">
                  <a:extLst>
                    <a:ext uri="{FF2B5EF4-FFF2-40B4-BE49-F238E27FC236}">
                      <a16:creationId xmlns:a16="http://schemas.microsoft.com/office/drawing/2014/main" id="{6BCB93F8-46BC-1F28-8AD0-3B4A5CB3A4E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300063" y="3284040"/>
                  <a:ext cx="30495" cy="49329"/>
                </a:xfrm>
                <a:custGeom>
                  <a:avLst/>
                  <a:gdLst>
                    <a:gd name="T0" fmla="*/ 15 w 34"/>
                    <a:gd name="T1" fmla="*/ 12 h 55"/>
                    <a:gd name="T2" fmla="*/ 5 w 34"/>
                    <a:gd name="T3" fmla="*/ 18 h 55"/>
                    <a:gd name="T4" fmla="*/ 0 w 34"/>
                    <a:gd name="T5" fmla="*/ 10 h 55"/>
                    <a:gd name="T6" fmla="*/ 17 w 34"/>
                    <a:gd name="T7" fmla="*/ 0 h 55"/>
                    <a:gd name="T8" fmla="*/ 27 w 34"/>
                    <a:gd name="T9" fmla="*/ 0 h 55"/>
                    <a:gd name="T10" fmla="*/ 27 w 34"/>
                    <a:gd name="T11" fmla="*/ 44 h 55"/>
                    <a:gd name="T12" fmla="*/ 34 w 34"/>
                    <a:gd name="T13" fmla="*/ 46 h 55"/>
                    <a:gd name="T14" fmla="*/ 34 w 34"/>
                    <a:gd name="T15" fmla="*/ 55 h 55"/>
                    <a:gd name="T16" fmla="*/ 9 w 34"/>
                    <a:gd name="T17" fmla="*/ 55 h 55"/>
                    <a:gd name="T18" fmla="*/ 9 w 34"/>
                    <a:gd name="T19" fmla="*/ 46 h 55"/>
                    <a:gd name="T20" fmla="*/ 15 w 34"/>
                    <a:gd name="T21" fmla="*/ 44 h 55"/>
                    <a:gd name="T22" fmla="*/ 15 w 34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4" y="46"/>
                      </a:lnTo>
                      <a:lnTo>
                        <a:pt x="34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44" name="Freeform 887">
                  <a:extLst>
                    <a:ext uri="{FF2B5EF4-FFF2-40B4-BE49-F238E27FC236}">
                      <a16:creationId xmlns:a16="http://schemas.microsoft.com/office/drawing/2014/main" id="{F2DA02B0-C987-0835-8598-D0E932C06A7A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384369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45" name="Freeform 888">
                  <a:extLst>
                    <a:ext uri="{FF2B5EF4-FFF2-40B4-BE49-F238E27FC236}">
                      <a16:creationId xmlns:a16="http://schemas.microsoft.com/office/drawing/2014/main" id="{0314B502-7A96-19A5-36FE-41B245718DE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472265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30 w 36"/>
                    <a:gd name="T9" fmla="*/ 0 h 55"/>
                    <a:gd name="T10" fmla="*/ 30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30" y="0"/>
                      </a:lnTo>
                      <a:lnTo>
                        <a:pt x="30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46" name="Freeform 889">
                  <a:extLst>
                    <a:ext uri="{FF2B5EF4-FFF2-40B4-BE49-F238E27FC236}">
                      <a16:creationId xmlns:a16="http://schemas.microsoft.com/office/drawing/2014/main" id="{EA86214F-9C7D-4E43-7D84-7C4ED50C5453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557468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47" name="Freeform 890">
                  <a:extLst>
                    <a:ext uri="{FF2B5EF4-FFF2-40B4-BE49-F238E27FC236}">
                      <a16:creationId xmlns:a16="http://schemas.microsoft.com/office/drawing/2014/main" id="{FC936E67-C67C-730A-AAFA-B9D41D9839D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45364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7 w 36"/>
                    <a:gd name="T3" fmla="*/ 18 h 55"/>
                    <a:gd name="T4" fmla="*/ 0 w 36"/>
                    <a:gd name="T5" fmla="*/ 10 h 55"/>
                    <a:gd name="T6" fmla="*/ 19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0 w 36"/>
                    <a:gd name="T17" fmla="*/ 55 h 55"/>
                    <a:gd name="T18" fmla="*/ 10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7" y="18"/>
                      </a:lnTo>
                      <a:lnTo>
                        <a:pt x="0" y="10"/>
                      </a:lnTo>
                      <a:lnTo>
                        <a:pt x="19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0" y="55"/>
                      </a:lnTo>
                      <a:lnTo>
                        <a:pt x="10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48" name="Freeform 891">
                  <a:extLst>
                    <a:ext uri="{FF2B5EF4-FFF2-40B4-BE49-F238E27FC236}">
                      <a16:creationId xmlns:a16="http://schemas.microsoft.com/office/drawing/2014/main" id="{18CD3258-2A56-F1EB-AFE1-D00262C223C7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731464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1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7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6" y="33"/>
                        <a:pt x="12" y="33"/>
                      </a:cubicBezTo>
                      <a:cubicBezTo>
                        <a:pt x="7" y="33"/>
                        <a:pt x="3" y="31"/>
                        <a:pt x="1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8" y="28"/>
                        <a:pt x="12" y="28"/>
                      </a:cubicBezTo>
                      <a:cubicBezTo>
                        <a:pt x="16" y="28"/>
                        <a:pt x="17" y="24"/>
                        <a:pt x="17" y="17"/>
                      </a:cubicBezTo>
                      <a:cubicBezTo>
                        <a:pt x="17" y="9"/>
                        <a:pt x="16" y="6"/>
                        <a:pt x="12" y="6"/>
                      </a:cubicBezTo>
                      <a:cubicBezTo>
                        <a:pt x="8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49" name="Freeform 892">
                  <a:extLst>
                    <a:ext uri="{FF2B5EF4-FFF2-40B4-BE49-F238E27FC236}">
                      <a16:creationId xmlns:a16="http://schemas.microsoft.com/office/drawing/2014/main" id="{5B0FF1A0-D925-513C-6AE8-4237F579654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819360" y="3284040"/>
                  <a:ext cx="30495" cy="49329"/>
                </a:xfrm>
                <a:custGeom>
                  <a:avLst/>
                  <a:gdLst>
                    <a:gd name="T0" fmla="*/ 15 w 34"/>
                    <a:gd name="T1" fmla="*/ 12 h 55"/>
                    <a:gd name="T2" fmla="*/ 5 w 34"/>
                    <a:gd name="T3" fmla="*/ 18 h 55"/>
                    <a:gd name="T4" fmla="*/ 0 w 34"/>
                    <a:gd name="T5" fmla="*/ 10 h 55"/>
                    <a:gd name="T6" fmla="*/ 17 w 34"/>
                    <a:gd name="T7" fmla="*/ 0 h 55"/>
                    <a:gd name="T8" fmla="*/ 27 w 34"/>
                    <a:gd name="T9" fmla="*/ 0 h 55"/>
                    <a:gd name="T10" fmla="*/ 27 w 34"/>
                    <a:gd name="T11" fmla="*/ 44 h 55"/>
                    <a:gd name="T12" fmla="*/ 34 w 34"/>
                    <a:gd name="T13" fmla="*/ 46 h 55"/>
                    <a:gd name="T14" fmla="*/ 34 w 34"/>
                    <a:gd name="T15" fmla="*/ 55 h 55"/>
                    <a:gd name="T16" fmla="*/ 8 w 34"/>
                    <a:gd name="T17" fmla="*/ 55 h 55"/>
                    <a:gd name="T18" fmla="*/ 8 w 34"/>
                    <a:gd name="T19" fmla="*/ 46 h 55"/>
                    <a:gd name="T20" fmla="*/ 15 w 34"/>
                    <a:gd name="T21" fmla="*/ 44 h 55"/>
                    <a:gd name="T22" fmla="*/ 15 w 34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4" y="46"/>
                      </a:lnTo>
                      <a:lnTo>
                        <a:pt x="34" y="55"/>
                      </a:lnTo>
                      <a:lnTo>
                        <a:pt x="8" y="55"/>
                      </a:lnTo>
                      <a:lnTo>
                        <a:pt x="8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50" name="Freeform 893">
                  <a:extLst>
                    <a:ext uri="{FF2B5EF4-FFF2-40B4-BE49-F238E27FC236}">
                      <a16:creationId xmlns:a16="http://schemas.microsoft.com/office/drawing/2014/main" id="{B7757690-13E3-AAA9-FCFB-F7C5079C3BE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905461" y="3284040"/>
                  <a:ext cx="32287" cy="49329"/>
                </a:xfrm>
                <a:custGeom>
                  <a:avLst/>
                  <a:gdLst>
                    <a:gd name="T0" fmla="*/ 15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7 w 36"/>
                    <a:gd name="T9" fmla="*/ 0 h 55"/>
                    <a:gd name="T10" fmla="*/ 27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8 w 36"/>
                    <a:gd name="T17" fmla="*/ 55 h 55"/>
                    <a:gd name="T18" fmla="*/ 8 w 36"/>
                    <a:gd name="T19" fmla="*/ 46 h 55"/>
                    <a:gd name="T20" fmla="*/ 15 w 36"/>
                    <a:gd name="T21" fmla="*/ 44 h 55"/>
                    <a:gd name="T22" fmla="*/ 15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8" y="55"/>
                      </a:lnTo>
                      <a:lnTo>
                        <a:pt x="8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51" name="Freeform 894">
                  <a:extLst>
                    <a:ext uri="{FF2B5EF4-FFF2-40B4-BE49-F238E27FC236}">
                      <a16:creationId xmlns:a16="http://schemas.microsoft.com/office/drawing/2014/main" id="{5B6E1C99-97CA-D0CA-B04A-79ADAA63ED3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991562" y="3284040"/>
                  <a:ext cx="32287" cy="49329"/>
                </a:xfrm>
                <a:custGeom>
                  <a:avLst/>
                  <a:gdLst>
                    <a:gd name="T0" fmla="*/ 15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7 w 36"/>
                    <a:gd name="T9" fmla="*/ 0 h 55"/>
                    <a:gd name="T10" fmla="*/ 27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5 w 36"/>
                    <a:gd name="T21" fmla="*/ 44 h 55"/>
                    <a:gd name="T22" fmla="*/ 15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52" name="Freeform 895">
                  <a:extLst>
                    <a:ext uri="{FF2B5EF4-FFF2-40B4-BE49-F238E27FC236}">
                      <a16:creationId xmlns:a16="http://schemas.microsoft.com/office/drawing/2014/main" id="{AE9F3889-1D8B-03C3-DC00-0300C9EC444F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075869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53" name="Freeform 896">
                  <a:extLst>
                    <a:ext uri="{FF2B5EF4-FFF2-40B4-BE49-F238E27FC236}">
                      <a16:creationId xmlns:a16="http://schemas.microsoft.com/office/drawing/2014/main" id="{7B8F9E89-3349-6638-1143-67C74BD70D2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63765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1 w 36"/>
                    <a:gd name="T17" fmla="*/ 55 h 55"/>
                    <a:gd name="T18" fmla="*/ 11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1" y="55"/>
                      </a:lnTo>
                      <a:lnTo>
                        <a:pt x="11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54" name="Freeform 897">
                  <a:extLst>
                    <a:ext uri="{FF2B5EF4-FFF2-40B4-BE49-F238E27FC236}">
                      <a16:creationId xmlns:a16="http://schemas.microsoft.com/office/drawing/2014/main" id="{6FF9032B-1266-D90A-2EFF-A3D8A8532E80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248968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8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8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5" y="26"/>
                        <a:pt x="23" y="29"/>
                      </a:cubicBezTo>
                      <a:cubicBezTo>
                        <a:pt x="21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5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8" y="16"/>
                      </a:moveTo>
                      <a:cubicBezTo>
                        <a:pt x="8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8" y="9"/>
                        <a:pt x="8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55" name="Freeform 898">
                  <a:extLst>
                    <a:ext uri="{FF2B5EF4-FFF2-40B4-BE49-F238E27FC236}">
                      <a16:creationId xmlns:a16="http://schemas.microsoft.com/office/drawing/2014/main" id="{C55F8920-2676-195B-D57F-7A533D0B6294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336863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1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7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6" y="33"/>
                        <a:pt x="12" y="33"/>
                      </a:cubicBezTo>
                      <a:cubicBezTo>
                        <a:pt x="7" y="33"/>
                        <a:pt x="3" y="31"/>
                        <a:pt x="1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8" y="28"/>
                        <a:pt x="12" y="28"/>
                      </a:cubicBezTo>
                      <a:cubicBezTo>
                        <a:pt x="16" y="28"/>
                        <a:pt x="17" y="24"/>
                        <a:pt x="17" y="17"/>
                      </a:cubicBezTo>
                      <a:cubicBezTo>
                        <a:pt x="17" y="9"/>
                        <a:pt x="16" y="6"/>
                        <a:pt x="12" y="6"/>
                      </a:cubicBezTo>
                      <a:cubicBezTo>
                        <a:pt x="8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56" name="Freeform 899">
                  <a:extLst>
                    <a:ext uri="{FF2B5EF4-FFF2-40B4-BE49-F238E27FC236}">
                      <a16:creationId xmlns:a16="http://schemas.microsoft.com/office/drawing/2014/main" id="{B1508D80-BE08-2E9F-3699-9633C1DC159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23862" y="3284040"/>
                  <a:ext cx="31391" cy="49329"/>
                </a:xfrm>
                <a:custGeom>
                  <a:avLst/>
                  <a:gdLst>
                    <a:gd name="T0" fmla="*/ 16 w 35"/>
                    <a:gd name="T1" fmla="*/ 12 h 55"/>
                    <a:gd name="T2" fmla="*/ 6 w 35"/>
                    <a:gd name="T3" fmla="*/ 18 h 55"/>
                    <a:gd name="T4" fmla="*/ 0 w 35"/>
                    <a:gd name="T5" fmla="*/ 10 h 55"/>
                    <a:gd name="T6" fmla="*/ 18 w 35"/>
                    <a:gd name="T7" fmla="*/ 0 h 55"/>
                    <a:gd name="T8" fmla="*/ 28 w 35"/>
                    <a:gd name="T9" fmla="*/ 0 h 55"/>
                    <a:gd name="T10" fmla="*/ 28 w 35"/>
                    <a:gd name="T11" fmla="*/ 44 h 55"/>
                    <a:gd name="T12" fmla="*/ 35 w 35"/>
                    <a:gd name="T13" fmla="*/ 46 h 55"/>
                    <a:gd name="T14" fmla="*/ 35 w 35"/>
                    <a:gd name="T15" fmla="*/ 55 h 55"/>
                    <a:gd name="T16" fmla="*/ 9 w 35"/>
                    <a:gd name="T17" fmla="*/ 55 h 55"/>
                    <a:gd name="T18" fmla="*/ 9 w 35"/>
                    <a:gd name="T19" fmla="*/ 46 h 55"/>
                    <a:gd name="T20" fmla="*/ 16 w 35"/>
                    <a:gd name="T21" fmla="*/ 44 h 55"/>
                    <a:gd name="T22" fmla="*/ 16 w 35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5" h="55">
                      <a:moveTo>
                        <a:pt x="16" y="12"/>
                      </a:moveTo>
                      <a:lnTo>
                        <a:pt x="6" y="18"/>
                      </a:lnTo>
                      <a:lnTo>
                        <a:pt x="0" y="10"/>
                      </a:lnTo>
                      <a:lnTo>
                        <a:pt x="18" y="0"/>
                      </a:lnTo>
                      <a:lnTo>
                        <a:pt x="28" y="0"/>
                      </a:lnTo>
                      <a:lnTo>
                        <a:pt x="28" y="44"/>
                      </a:lnTo>
                      <a:lnTo>
                        <a:pt x="35" y="46"/>
                      </a:lnTo>
                      <a:lnTo>
                        <a:pt x="35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6" y="4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57" name="Freeform 900">
                  <a:extLst>
                    <a:ext uri="{FF2B5EF4-FFF2-40B4-BE49-F238E27FC236}">
                      <a16:creationId xmlns:a16="http://schemas.microsoft.com/office/drawing/2014/main" id="{45092C4B-BF34-ABDB-5FFA-01255981F8C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10860" y="3284040"/>
                  <a:ext cx="32287" cy="49329"/>
                </a:xfrm>
                <a:custGeom>
                  <a:avLst/>
                  <a:gdLst>
                    <a:gd name="T0" fmla="*/ 15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7 w 36"/>
                    <a:gd name="T9" fmla="*/ 0 h 55"/>
                    <a:gd name="T10" fmla="*/ 27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8 w 36"/>
                    <a:gd name="T17" fmla="*/ 55 h 55"/>
                    <a:gd name="T18" fmla="*/ 8 w 36"/>
                    <a:gd name="T19" fmla="*/ 46 h 55"/>
                    <a:gd name="T20" fmla="*/ 15 w 36"/>
                    <a:gd name="T21" fmla="*/ 44 h 55"/>
                    <a:gd name="T22" fmla="*/ 15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8" y="55"/>
                      </a:lnTo>
                      <a:lnTo>
                        <a:pt x="8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58" name="Freeform 901">
                  <a:extLst>
                    <a:ext uri="{FF2B5EF4-FFF2-40B4-BE49-F238E27FC236}">
                      <a16:creationId xmlns:a16="http://schemas.microsoft.com/office/drawing/2014/main" id="{6ECA8E35-0558-9AC1-C9AB-5DFE19E7A10A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595166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59" name="Freeform 902">
                  <a:extLst>
                    <a:ext uri="{FF2B5EF4-FFF2-40B4-BE49-F238E27FC236}">
                      <a16:creationId xmlns:a16="http://schemas.microsoft.com/office/drawing/2014/main" id="{46E5D855-0AA6-555D-DD03-D3D55ED3B56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83062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60" name="Freeform 903">
                  <a:extLst>
                    <a:ext uri="{FF2B5EF4-FFF2-40B4-BE49-F238E27FC236}">
                      <a16:creationId xmlns:a16="http://schemas.microsoft.com/office/drawing/2014/main" id="{8AE2047D-DD5F-79F6-5368-25CAF55E464E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767368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3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61" name="Freeform 904">
                  <a:extLst>
                    <a:ext uri="{FF2B5EF4-FFF2-40B4-BE49-F238E27FC236}">
                      <a16:creationId xmlns:a16="http://schemas.microsoft.com/office/drawing/2014/main" id="{8ADDEE5F-54E4-83E6-328D-F7FAA7EFB05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855263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7 w 36"/>
                    <a:gd name="T3" fmla="*/ 18 h 55"/>
                    <a:gd name="T4" fmla="*/ 0 w 36"/>
                    <a:gd name="T5" fmla="*/ 10 h 55"/>
                    <a:gd name="T6" fmla="*/ 19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1 w 36"/>
                    <a:gd name="T17" fmla="*/ 55 h 55"/>
                    <a:gd name="T18" fmla="*/ 11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7" y="18"/>
                      </a:lnTo>
                      <a:lnTo>
                        <a:pt x="0" y="10"/>
                      </a:lnTo>
                      <a:lnTo>
                        <a:pt x="19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1" y="55"/>
                      </a:lnTo>
                      <a:lnTo>
                        <a:pt x="11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62" name="Freeform 905">
                  <a:extLst>
                    <a:ext uri="{FF2B5EF4-FFF2-40B4-BE49-F238E27FC236}">
                      <a16:creationId xmlns:a16="http://schemas.microsoft.com/office/drawing/2014/main" id="{5A6676AE-75A6-1B1D-AD13-D0DDB9E51C9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943158" y="3284040"/>
                  <a:ext cx="30495" cy="49329"/>
                </a:xfrm>
                <a:custGeom>
                  <a:avLst/>
                  <a:gdLst>
                    <a:gd name="T0" fmla="*/ 16 w 34"/>
                    <a:gd name="T1" fmla="*/ 12 h 55"/>
                    <a:gd name="T2" fmla="*/ 5 w 34"/>
                    <a:gd name="T3" fmla="*/ 18 h 55"/>
                    <a:gd name="T4" fmla="*/ 0 w 34"/>
                    <a:gd name="T5" fmla="*/ 10 h 55"/>
                    <a:gd name="T6" fmla="*/ 17 w 34"/>
                    <a:gd name="T7" fmla="*/ 0 h 55"/>
                    <a:gd name="T8" fmla="*/ 28 w 34"/>
                    <a:gd name="T9" fmla="*/ 0 h 55"/>
                    <a:gd name="T10" fmla="*/ 28 w 34"/>
                    <a:gd name="T11" fmla="*/ 44 h 55"/>
                    <a:gd name="T12" fmla="*/ 34 w 34"/>
                    <a:gd name="T13" fmla="*/ 46 h 55"/>
                    <a:gd name="T14" fmla="*/ 34 w 34"/>
                    <a:gd name="T15" fmla="*/ 55 h 55"/>
                    <a:gd name="T16" fmla="*/ 9 w 34"/>
                    <a:gd name="T17" fmla="*/ 55 h 55"/>
                    <a:gd name="T18" fmla="*/ 9 w 34"/>
                    <a:gd name="T19" fmla="*/ 46 h 55"/>
                    <a:gd name="T20" fmla="*/ 16 w 34"/>
                    <a:gd name="T21" fmla="*/ 44 h 55"/>
                    <a:gd name="T22" fmla="*/ 16 w 34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55">
                      <a:moveTo>
                        <a:pt x="16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8" y="0"/>
                      </a:lnTo>
                      <a:lnTo>
                        <a:pt x="28" y="44"/>
                      </a:lnTo>
                      <a:lnTo>
                        <a:pt x="34" y="46"/>
                      </a:lnTo>
                      <a:lnTo>
                        <a:pt x="34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6" y="4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63" name="Freeform 906">
                  <a:extLst>
                    <a:ext uri="{FF2B5EF4-FFF2-40B4-BE49-F238E27FC236}">
                      <a16:creationId xmlns:a16="http://schemas.microsoft.com/office/drawing/2014/main" id="{D9126CFA-DE43-0E2A-BCA7-6980C55CE5CA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028362" y="3282246"/>
                  <a:ext cx="37669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7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7" y="24"/>
                        <a:pt x="17" y="17"/>
                      </a:cubicBezTo>
                      <a:cubicBezTo>
                        <a:pt x="17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64" name="Freeform 907">
                  <a:extLst>
                    <a:ext uri="{FF2B5EF4-FFF2-40B4-BE49-F238E27FC236}">
                      <a16:creationId xmlns:a16="http://schemas.microsoft.com/office/drawing/2014/main" id="{6E09EBEB-F4F2-76B3-2037-1BC96D8E7C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114462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65" name="Freeform 908">
                  <a:extLst>
                    <a:ext uri="{FF2B5EF4-FFF2-40B4-BE49-F238E27FC236}">
                      <a16:creationId xmlns:a16="http://schemas.microsoft.com/office/drawing/2014/main" id="{F21AAE66-E0D5-3DDF-C31E-EE8694E7F438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200563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66" name="Freeform 909">
                  <a:extLst>
                    <a:ext uri="{FF2B5EF4-FFF2-40B4-BE49-F238E27FC236}">
                      <a16:creationId xmlns:a16="http://schemas.microsoft.com/office/drawing/2014/main" id="{6B899CD3-62EC-C018-5C44-66DEE0FFE0D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288459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8 w 36"/>
                    <a:gd name="T17" fmla="*/ 55 h 55"/>
                    <a:gd name="T18" fmla="*/ 8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8" y="55"/>
                      </a:lnTo>
                      <a:lnTo>
                        <a:pt x="8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67" name="Freeform 910">
                  <a:extLst>
                    <a:ext uri="{FF2B5EF4-FFF2-40B4-BE49-F238E27FC236}">
                      <a16:creationId xmlns:a16="http://schemas.microsoft.com/office/drawing/2014/main" id="{726D9BAE-A6F4-E504-1CD4-13FCBF09D32E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372766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8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8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3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8" y="16"/>
                      </a:moveTo>
                      <a:cubicBezTo>
                        <a:pt x="8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8" y="9"/>
                        <a:pt x="8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68" name="Freeform 911">
                  <a:extLst>
                    <a:ext uri="{FF2B5EF4-FFF2-40B4-BE49-F238E27FC236}">
                      <a16:creationId xmlns:a16="http://schemas.microsoft.com/office/drawing/2014/main" id="{C20606A4-BA31-3A9C-0926-5E1D9DABAB8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460661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7 w 36"/>
                    <a:gd name="T3" fmla="*/ 18 h 55"/>
                    <a:gd name="T4" fmla="*/ 0 w 36"/>
                    <a:gd name="T5" fmla="*/ 10 h 55"/>
                    <a:gd name="T6" fmla="*/ 19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0 w 36"/>
                    <a:gd name="T17" fmla="*/ 55 h 55"/>
                    <a:gd name="T18" fmla="*/ 10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7" y="18"/>
                      </a:lnTo>
                      <a:lnTo>
                        <a:pt x="0" y="10"/>
                      </a:lnTo>
                      <a:lnTo>
                        <a:pt x="19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0" y="55"/>
                      </a:lnTo>
                      <a:lnTo>
                        <a:pt x="10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69" name="Freeform 912">
                  <a:extLst>
                    <a:ext uri="{FF2B5EF4-FFF2-40B4-BE49-F238E27FC236}">
                      <a16:creationId xmlns:a16="http://schemas.microsoft.com/office/drawing/2014/main" id="{2FAF2192-9A21-893C-EBC7-2747221EA0E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548556" y="3284040"/>
                  <a:ext cx="30495" cy="49329"/>
                </a:xfrm>
                <a:custGeom>
                  <a:avLst/>
                  <a:gdLst>
                    <a:gd name="T0" fmla="*/ 15 w 34"/>
                    <a:gd name="T1" fmla="*/ 12 h 55"/>
                    <a:gd name="T2" fmla="*/ 5 w 34"/>
                    <a:gd name="T3" fmla="*/ 18 h 55"/>
                    <a:gd name="T4" fmla="*/ 0 w 34"/>
                    <a:gd name="T5" fmla="*/ 10 h 55"/>
                    <a:gd name="T6" fmla="*/ 17 w 34"/>
                    <a:gd name="T7" fmla="*/ 0 h 55"/>
                    <a:gd name="T8" fmla="*/ 27 w 34"/>
                    <a:gd name="T9" fmla="*/ 0 h 55"/>
                    <a:gd name="T10" fmla="*/ 27 w 34"/>
                    <a:gd name="T11" fmla="*/ 44 h 55"/>
                    <a:gd name="T12" fmla="*/ 34 w 34"/>
                    <a:gd name="T13" fmla="*/ 46 h 55"/>
                    <a:gd name="T14" fmla="*/ 34 w 34"/>
                    <a:gd name="T15" fmla="*/ 55 h 55"/>
                    <a:gd name="T16" fmla="*/ 9 w 34"/>
                    <a:gd name="T17" fmla="*/ 55 h 55"/>
                    <a:gd name="T18" fmla="*/ 9 w 34"/>
                    <a:gd name="T19" fmla="*/ 46 h 55"/>
                    <a:gd name="T20" fmla="*/ 15 w 34"/>
                    <a:gd name="T21" fmla="*/ 44 h 55"/>
                    <a:gd name="T22" fmla="*/ 15 w 34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4" y="46"/>
                      </a:lnTo>
                      <a:lnTo>
                        <a:pt x="34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70" name="Freeform 913">
                  <a:extLst>
                    <a:ext uri="{FF2B5EF4-FFF2-40B4-BE49-F238E27FC236}">
                      <a16:creationId xmlns:a16="http://schemas.microsoft.com/office/drawing/2014/main" id="{14F0923E-6343-A2E1-7480-63BCF9E8A0A0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632863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71" name="Freeform 914">
                  <a:extLst>
                    <a:ext uri="{FF2B5EF4-FFF2-40B4-BE49-F238E27FC236}">
                      <a16:creationId xmlns:a16="http://schemas.microsoft.com/office/drawing/2014/main" id="{EFDFEB49-9662-7D33-23A9-12739E2440D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720759" y="3284040"/>
                  <a:ext cx="32287" cy="49329"/>
                </a:xfrm>
                <a:custGeom>
                  <a:avLst/>
                  <a:gdLst>
                    <a:gd name="T0" fmla="*/ 16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8 w 36"/>
                    <a:gd name="T9" fmla="*/ 0 h 55"/>
                    <a:gd name="T10" fmla="*/ 28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6 w 36"/>
                    <a:gd name="T21" fmla="*/ 44 h 55"/>
                    <a:gd name="T22" fmla="*/ 16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6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8" y="0"/>
                      </a:lnTo>
                      <a:lnTo>
                        <a:pt x="28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6" y="4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72" name="Freeform 915">
                  <a:extLst>
                    <a:ext uri="{FF2B5EF4-FFF2-40B4-BE49-F238E27FC236}">
                      <a16:creationId xmlns:a16="http://schemas.microsoft.com/office/drawing/2014/main" id="{0FF2C773-9DFB-1D5F-C29E-217CCE0D2A61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805962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73" name="Freeform 916">
                  <a:extLst>
                    <a:ext uri="{FF2B5EF4-FFF2-40B4-BE49-F238E27FC236}">
                      <a16:creationId xmlns:a16="http://schemas.microsoft.com/office/drawing/2014/main" id="{63F22F05-E8D1-9D24-D747-F39EBAC5362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893858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0 w 36"/>
                    <a:gd name="T17" fmla="*/ 55 h 55"/>
                    <a:gd name="T18" fmla="*/ 10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0" y="55"/>
                      </a:lnTo>
                      <a:lnTo>
                        <a:pt x="10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74" name="Freeform 917">
                  <a:extLst>
                    <a:ext uri="{FF2B5EF4-FFF2-40B4-BE49-F238E27FC236}">
                      <a16:creationId xmlns:a16="http://schemas.microsoft.com/office/drawing/2014/main" id="{09AB65D1-51C8-2FBE-F70B-898690B4B4CF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978164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8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8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3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8" y="16"/>
                      </a:moveTo>
                      <a:cubicBezTo>
                        <a:pt x="8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8" y="9"/>
                        <a:pt x="8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75" name="Freeform 918">
                  <a:extLst>
                    <a:ext uri="{FF2B5EF4-FFF2-40B4-BE49-F238E27FC236}">
                      <a16:creationId xmlns:a16="http://schemas.microsoft.com/office/drawing/2014/main" id="{39CFE669-C40E-9B05-0F03-37805A7B41AD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064265" y="3282246"/>
                  <a:ext cx="38566" cy="51123"/>
                </a:xfrm>
                <a:custGeom>
                  <a:avLst/>
                  <a:gdLst>
                    <a:gd name="T0" fmla="*/ 24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4 w 25"/>
                    <a:gd name="T15" fmla="*/ 6 h 33"/>
                    <a:gd name="T16" fmla="*/ 8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8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4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5" y="26"/>
                        <a:pt x="23" y="29"/>
                      </a:cubicBezTo>
                      <a:cubicBezTo>
                        <a:pt x="21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5" y="0"/>
                        <a:pt x="13" y="0"/>
                      </a:cubicBezTo>
                      <a:cubicBezTo>
                        <a:pt x="18" y="0"/>
                        <a:pt x="22" y="2"/>
                        <a:pt x="24" y="6"/>
                      </a:cubicBezTo>
                      <a:close/>
                      <a:moveTo>
                        <a:pt x="8" y="16"/>
                      </a:moveTo>
                      <a:cubicBezTo>
                        <a:pt x="8" y="24"/>
                        <a:pt x="9" y="28"/>
                        <a:pt x="13" y="28"/>
                      </a:cubicBezTo>
                      <a:cubicBezTo>
                        <a:pt x="17" y="28"/>
                        <a:pt x="18" y="24"/>
                        <a:pt x="18" y="17"/>
                      </a:cubicBezTo>
                      <a:cubicBezTo>
                        <a:pt x="18" y="9"/>
                        <a:pt x="17" y="6"/>
                        <a:pt x="13" y="6"/>
                      </a:cubicBezTo>
                      <a:cubicBezTo>
                        <a:pt x="9" y="6"/>
                        <a:pt x="8" y="9"/>
                        <a:pt x="8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76" name="Freeform 919">
                  <a:extLst>
                    <a:ext uri="{FF2B5EF4-FFF2-40B4-BE49-F238E27FC236}">
                      <a16:creationId xmlns:a16="http://schemas.microsoft.com/office/drawing/2014/main" id="{3CE68A97-13DE-C127-B4D7-698C7F62C2B6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152160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7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6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8" y="28"/>
                        <a:pt x="12" y="28"/>
                      </a:cubicBezTo>
                      <a:cubicBezTo>
                        <a:pt x="16" y="28"/>
                        <a:pt x="17" y="24"/>
                        <a:pt x="17" y="17"/>
                      </a:cubicBezTo>
                      <a:cubicBezTo>
                        <a:pt x="17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77" name="Freeform 920">
                  <a:extLst>
                    <a:ext uri="{FF2B5EF4-FFF2-40B4-BE49-F238E27FC236}">
                      <a16:creationId xmlns:a16="http://schemas.microsoft.com/office/drawing/2014/main" id="{5B628E9C-4836-7A45-F0E7-00D37E10C7F5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238261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78" name="Freeform 921">
                  <a:extLst>
                    <a:ext uri="{FF2B5EF4-FFF2-40B4-BE49-F238E27FC236}">
                      <a16:creationId xmlns:a16="http://schemas.microsoft.com/office/drawing/2014/main" id="{71B313DD-23F1-4B80-F234-F540C9B5D85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326157" y="3284040"/>
                  <a:ext cx="32287" cy="49329"/>
                </a:xfrm>
                <a:custGeom>
                  <a:avLst/>
                  <a:gdLst>
                    <a:gd name="T0" fmla="*/ 16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8 w 36"/>
                    <a:gd name="T9" fmla="*/ 0 h 55"/>
                    <a:gd name="T10" fmla="*/ 28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6 w 36"/>
                    <a:gd name="T21" fmla="*/ 44 h 55"/>
                    <a:gd name="T22" fmla="*/ 16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6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8" y="0"/>
                      </a:lnTo>
                      <a:lnTo>
                        <a:pt x="28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6" y="4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79" name="Freeform 922">
                  <a:extLst>
                    <a:ext uri="{FF2B5EF4-FFF2-40B4-BE49-F238E27FC236}">
                      <a16:creationId xmlns:a16="http://schemas.microsoft.com/office/drawing/2014/main" id="{E22FE3C9-298D-0C13-3503-C951BA8C5F73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411361" y="3282246"/>
                  <a:ext cx="37669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80" name="Freeform 923">
                  <a:extLst>
                    <a:ext uri="{FF2B5EF4-FFF2-40B4-BE49-F238E27FC236}">
                      <a16:creationId xmlns:a16="http://schemas.microsoft.com/office/drawing/2014/main" id="{AE2E4F87-63E7-2C9A-B3EE-5D915DAB762C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497461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81" name="Freeform 924">
                  <a:extLst>
                    <a:ext uri="{FF2B5EF4-FFF2-40B4-BE49-F238E27FC236}">
                      <a16:creationId xmlns:a16="http://schemas.microsoft.com/office/drawing/2014/main" id="{DDA95281-3E62-EE71-40FD-9D9FF2097C6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585357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6 w 36"/>
                    <a:gd name="T3" fmla="*/ 18 h 55"/>
                    <a:gd name="T4" fmla="*/ 0 w 36"/>
                    <a:gd name="T5" fmla="*/ 10 h 55"/>
                    <a:gd name="T6" fmla="*/ 18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0 w 36"/>
                    <a:gd name="T17" fmla="*/ 55 h 55"/>
                    <a:gd name="T18" fmla="*/ 10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6" y="18"/>
                      </a:lnTo>
                      <a:lnTo>
                        <a:pt x="0" y="10"/>
                      </a:lnTo>
                      <a:lnTo>
                        <a:pt x="18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0" y="55"/>
                      </a:lnTo>
                      <a:lnTo>
                        <a:pt x="10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</p:grpSp>
        </p:grpSp>
        <p:grpSp>
          <p:nvGrpSpPr>
            <p:cNvPr id="139" name="Gruppieren 3">
              <a:extLst>
                <a:ext uri="{FF2B5EF4-FFF2-40B4-BE49-F238E27FC236}">
                  <a16:creationId xmlns:a16="http://schemas.microsoft.com/office/drawing/2014/main" id="{0DBCD326-EC8E-930C-35FD-B5478618FCB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56112" y="5982134"/>
              <a:ext cx="5072030" cy="215263"/>
              <a:chOff x="627062" y="5241503"/>
              <a:chExt cx="4405225" cy="171665"/>
            </a:xfrm>
          </p:grpSpPr>
          <p:grpSp>
            <p:nvGrpSpPr>
              <p:cNvPr id="140" name="Group 101">
                <a:extLst>
                  <a:ext uri="{FF2B5EF4-FFF2-40B4-BE49-F238E27FC236}">
                    <a16:creationId xmlns:a16="http://schemas.microsoft.com/office/drawing/2014/main" id="{24406D99-4499-C687-031C-1439AC455F27}"/>
                  </a:ext>
                </a:extLst>
              </p:cNvPr>
              <p:cNvGrpSpPr/>
              <p:nvPr/>
            </p:nvGrpSpPr>
            <p:grpSpPr bwMode="gray">
              <a:xfrm>
                <a:off x="760108" y="5362690"/>
                <a:ext cx="3275710" cy="50478"/>
                <a:chOff x="4300063" y="3282246"/>
                <a:chExt cx="3317581" cy="51123"/>
              </a:xfrm>
              <a:solidFill>
                <a:srgbClr val="4BB9B9"/>
              </a:solidFill>
            </p:grpSpPr>
            <p:sp>
              <p:nvSpPr>
                <p:cNvPr id="181" name="Freeform 886">
                  <a:extLst>
                    <a:ext uri="{FF2B5EF4-FFF2-40B4-BE49-F238E27FC236}">
                      <a16:creationId xmlns:a16="http://schemas.microsoft.com/office/drawing/2014/main" id="{6F6871F6-6B02-0511-9E69-F05474AD1C5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300063" y="3284040"/>
                  <a:ext cx="30495" cy="49329"/>
                </a:xfrm>
                <a:custGeom>
                  <a:avLst/>
                  <a:gdLst>
                    <a:gd name="T0" fmla="*/ 15 w 34"/>
                    <a:gd name="T1" fmla="*/ 12 h 55"/>
                    <a:gd name="T2" fmla="*/ 5 w 34"/>
                    <a:gd name="T3" fmla="*/ 18 h 55"/>
                    <a:gd name="T4" fmla="*/ 0 w 34"/>
                    <a:gd name="T5" fmla="*/ 10 h 55"/>
                    <a:gd name="T6" fmla="*/ 17 w 34"/>
                    <a:gd name="T7" fmla="*/ 0 h 55"/>
                    <a:gd name="T8" fmla="*/ 27 w 34"/>
                    <a:gd name="T9" fmla="*/ 0 h 55"/>
                    <a:gd name="T10" fmla="*/ 27 w 34"/>
                    <a:gd name="T11" fmla="*/ 44 h 55"/>
                    <a:gd name="T12" fmla="*/ 34 w 34"/>
                    <a:gd name="T13" fmla="*/ 46 h 55"/>
                    <a:gd name="T14" fmla="*/ 34 w 34"/>
                    <a:gd name="T15" fmla="*/ 55 h 55"/>
                    <a:gd name="T16" fmla="*/ 9 w 34"/>
                    <a:gd name="T17" fmla="*/ 55 h 55"/>
                    <a:gd name="T18" fmla="*/ 9 w 34"/>
                    <a:gd name="T19" fmla="*/ 46 h 55"/>
                    <a:gd name="T20" fmla="*/ 15 w 34"/>
                    <a:gd name="T21" fmla="*/ 44 h 55"/>
                    <a:gd name="T22" fmla="*/ 15 w 34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4" y="46"/>
                      </a:lnTo>
                      <a:lnTo>
                        <a:pt x="34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82" name="Freeform 887">
                  <a:extLst>
                    <a:ext uri="{FF2B5EF4-FFF2-40B4-BE49-F238E27FC236}">
                      <a16:creationId xmlns:a16="http://schemas.microsoft.com/office/drawing/2014/main" id="{70F39CC7-9B21-E985-B018-9F8C472CC156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384369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83" name="Freeform 888">
                  <a:extLst>
                    <a:ext uri="{FF2B5EF4-FFF2-40B4-BE49-F238E27FC236}">
                      <a16:creationId xmlns:a16="http://schemas.microsoft.com/office/drawing/2014/main" id="{7DD3ADAE-9D93-7C8B-A9AB-2A9D05E1115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472265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30 w 36"/>
                    <a:gd name="T9" fmla="*/ 0 h 55"/>
                    <a:gd name="T10" fmla="*/ 30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30" y="0"/>
                      </a:lnTo>
                      <a:lnTo>
                        <a:pt x="30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84" name="Freeform 889">
                  <a:extLst>
                    <a:ext uri="{FF2B5EF4-FFF2-40B4-BE49-F238E27FC236}">
                      <a16:creationId xmlns:a16="http://schemas.microsoft.com/office/drawing/2014/main" id="{BA1C1B28-56BF-4232-B16B-1325402E8236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557468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85" name="Freeform 890">
                  <a:extLst>
                    <a:ext uri="{FF2B5EF4-FFF2-40B4-BE49-F238E27FC236}">
                      <a16:creationId xmlns:a16="http://schemas.microsoft.com/office/drawing/2014/main" id="{CA13F48E-64DB-623C-5BE9-4848873E3A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45364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7 w 36"/>
                    <a:gd name="T3" fmla="*/ 18 h 55"/>
                    <a:gd name="T4" fmla="*/ 0 w 36"/>
                    <a:gd name="T5" fmla="*/ 10 h 55"/>
                    <a:gd name="T6" fmla="*/ 19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0 w 36"/>
                    <a:gd name="T17" fmla="*/ 55 h 55"/>
                    <a:gd name="T18" fmla="*/ 10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7" y="18"/>
                      </a:lnTo>
                      <a:lnTo>
                        <a:pt x="0" y="10"/>
                      </a:lnTo>
                      <a:lnTo>
                        <a:pt x="19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0" y="55"/>
                      </a:lnTo>
                      <a:lnTo>
                        <a:pt x="10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86" name="Freeform 891">
                  <a:extLst>
                    <a:ext uri="{FF2B5EF4-FFF2-40B4-BE49-F238E27FC236}">
                      <a16:creationId xmlns:a16="http://schemas.microsoft.com/office/drawing/2014/main" id="{91FA675D-337B-0F3A-11F7-49E2050F85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731464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1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7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6" y="33"/>
                        <a:pt x="12" y="33"/>
                      </a:cubicBezTo>
                      <a:cubicBezTo>
                        <a:pt x="7" y="33"/>
                        <a:pt x="3" y="31"/>
                        <a:pt x="1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8" y="28"/>
                        <a:pt x="12" y="28"/>
                      </a:cubicBezTo>
                      <a:cubicBezTo>
                        <a:pt x="16" y="28"/>
                        <a:pt x="17" y="24"/>
                        <a:pt x="17" y="17"/>
                      </a:cubicBezTo>
                      <a:cubicBezTo>
                        <a:pt x="17" y="9"/>
                        <a:pt x="16" y="6"/>
                        <a:pt x="12" y="6"/>
                      </a:cubicBezTo>
                      <a:cubicBezTo>
                        <a:pt x="8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87" name="Freeform 892">
                  <a:extLst>
                    <a:ext uri="{FF2B5EF4-FFF2-40B4-BE49-F238E27FC236}">
                      <a16:creationId xmlns:a16="http://schemas.microsoft.com/office/drawing/2014/main" id="{761830C9-0802-37C2-E64D-98A4F6709EA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819360" y="3284040"/>
                  <a:ext cx="30495" cy="49329"/>
                </a:xfrm>
                <a:custGeom>
                  <a:avLst/>
                  <a:gdLst>
                    <a:gd name="T0" fmla="*/ 15 w 34"/>
                    <a:gd name="T1" fmla="*/ 12 h 55"/>
                    <a:gd name="T2" fmla="*/ 5 w 34"/>
                    <a:gd name="T3" fmla="*/ 18 h 55"/>
                    <a:gd name="T4" fmla="*/ 0 w 34"/>
                    <a:gd name="T5" fmla="*/ 10 h 55"/>
                    <a:gd name="T6" fmla="*/ 17 w 34"/>
                    <a:gd name="T7" fmla="*/ 0 h 55"/>
                    <a:gd name="T8" fmla="*/ 27 w 34"/>
                    <a:gd name="T9" fmla="*/ 0 h 55"/>
                    <a:gd name="T10" fmla="*/ 27 w 34"/>
                    <a:gd name="T11" fmla="*/ 44 h 55"/>
                    <a:gd name="T12" fmla="*/ 34 w 34"/>
                    <a:gd name="T13" fmla="*/ 46 h 55"/>
                    <a:gd name="T14" fmla="*/ 34 w 34"/>
                    <a:gd name="T15" fmla="*/ 55 h 55"/>
                    <a:gd name="T16" fmla="*/ 8 w 34"/>
                    <a:gd name="T17" fmla="*/ 55 h 55"/>
                    <a:gd name="T18" fmla="*/ 8 w 34"/>
                    <a:gd name="T19" fmla="*/ 46 h 55"/>
                    <a:gd name="T20" fmla="*/ 15 w 34"/>
                    <a:gd name="T21" fmla="*/ 44 h 55"/>
                    <a:gd name="T22" fmla="*/ 15 w 34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4" y="46"/>
                      </a:lnTo>
                      <a:lnTo>
                        <a:pt x="34" y="55"/>
                      </a:lnTo>
                      <a:lnTo>
                        <a:pt x="8" y="55"/>
                      </a:lnTo>
                      <a:lnTo>
                        <a:pt x="8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88" name="Freeform 893">
                  <a:extLst>
                    <a:ext uri="{FF2B5EF4-FFF2-40B4-BE49-F238E27FC236}">
                      <a16:creationId xmlns:a16="http://schemas.microsoft.com/office/drawing/2014/main" id="{0FF37103-999D-2866-3984-2C233CB4B35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905461" y="3284040"/>
                  <a:ext cx="32287" cy="49329"/>
                </a:xfrm>
                <a:custGeom>
                  <a:avLst/>
                  <a:gdLst>
                    <a:gd name="T0" fmla="*/ 15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7 w 36"/>
                    <a:gd name="T9" fmla="*/ 0 h 55"/>
                    <a:gd name="T10" fmla="*/ 27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8 w 36"/>
                    <a:gd name="T17" fmla="*/ 55 h 55"/>
                    <a:gd name="T18" fmla="*/ 8 w 36"/>
                    <a:gd name="T19" fmla="*/ 46 h 55"/>
                    <a:gd name="T20" fmla="*/ 15 w 36"/>
                    <a:gd name="T21" fmla="*/ 44 h 55"/>
                    <a:gd name="T22" fmla="*/ 15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8" y="55"/>
                      </a:lnTo>
                      <a:lnTo>
                        <a:pt x="8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89" name="Freeform 894">
                  <a:extLst>
                    <a:ext uri="{FF2B5EF4-FFF2-40B4-BE49-F238E27FC236}">
                      <a16:creationId xmlns:a16="http://schemas.microsoft.com/office/drawing/2014/main" id="{289C49C1-0156-482B-1614-56019D7304E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991562" y="3284040"/>
                  <a:ext cx="32287" cy="49329"/>
                </a:xfrm>
                <a:custGeom>
                  <a:avLst/>
                  <a:gdLst>
                    <a:gd name="T0" fmla="*/ 15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7 w 36"/>
                    <a:gd name="T9" fmla="*/ 0 h 55"/>
                    <a:gd name="T10" fmla="*/ 27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5 w 36"/>
                    <a:gd name="T21" fmla="*/ 44 h 55"/>
                    <a:gd name="T22" fmla="*/ 15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90" name="Freeform 895">
                  <a:extLst>
                    <a:ext uri="{FF2B5EF4-FFF2-40B4-BE49-F238E27FC236}">
                      <a16:creationId xmlns:a16="http://schemas.microsoft.com/office/drawing/2014/main" id="{C3F78977-B8D2-A9FE-65B9-966D45286270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075869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91" name="Freeform 896">
                  <a:extLst>
                    <a:ext uri="{FF2B5EF4-FFF2-40B4-BE49-F238E27FC236}">
                      <a16:creationId xmlns:a16="http://schemas.microsoft.com/office/drawing/2014/main" id="{24EA3288-3B4B-2A4A-F0FE-5ACEFAAE7AA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63765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1 w 36"/>
                    <a:gd name="T17" fmla="*/ 55 h 55"/>
                    <a:gd name="T18" fmla="*/ 11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1" y="55"/>
                      </a:lnTo>
                      <a:lnTo>
                        <a:pt x="11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92" name="Freeform 897">
                  <a:extLst>
                    <a:ext uri="{FF2B5EF4-FFF2-40B4-BE49-F238E27FC236}">
                      <a16:creationId xmlns:a16="http://schemas.microsoft.com/office/drawing/2014/main" id="{AF7DF4A7-6C1F-98D3-2CFB-ECDBF34C5D91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248968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8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8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5" y="26"/>
                        <a:pt x="23" y="29"/>
                      </a:cubicBezTo>
                      <a:cubicBezTo>
                        <a:pt x="21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5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8" y="16"/>
                      </a:moveTo>
                      <a:cubicBezTo>
                        <a:pt x="8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8" y="9"/>
                        <a:pt x="8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93" name="Freeform 898">
                  <a:extLst>
                    <a:ext uri="{FF2B5EF4-FFF2-40B4-BE49-F238E27FC236}">
                      <a16:creationId xmlns:a16="http://schemas.microsoft.com/office/drawing/2014/main" id="{AB9A21E9-B3CC-B83E-3905-EFD13B11C2D7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336863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1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7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6" y="33"/>
                        <a:pt x="12" y="33"/>
                      </a:cubicBezTo>
                      <a:cubicBezTo>
                        <a:pt x="7" y="33"/>
                        <a:pt x="3" y="31"/>
                        <a:pt x="1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8" y="28"/>
                        <a:pt x="12" y="28"/>
                      </a:cubicBezTo>
                      <a:cubicBezTo>
                        <a:pt x="16" y="28"/>
                        <a:pt x="17" y="24"/>
                        <a:pt x="17" y="17"/>
                      </a:cubicBezTo>
                      <a:cubicBezTo>
                        <a:pt x="17" y="9"/>
                        <a:pt x="16" y="6"/>
                        <a:pt x="12" y="6"/>
                      </a:cubicBezTo>
                      <a:cubicBezTo>
                        <a:pt x="8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94" name="Freeform 899">
                  <a:extLst>
                    <a:ext uri="{FF2B5EF4-FFF2-40B4-BE49-F238E27FC236}">
                      <a16:creationId xmlns:a16="http://schemas.microsoft.com/office/drawing/2014/main" id="{91D86C6E-2ED1-5AAF-C7E7-6C8EA4532BD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23862" y="3284040"/>
                  <a:ext cx="31391" cy="49329"/>
                </a:xfrm>
                <a:custGeom>
                  <a:avLst/>
                  <a:gdLst>
                    <a:gd name="T0" fmla="*/ 16 w 35"/>
                    <a:gd name="T1" fmla="*/ 12 h 55"/>
                    <a:gd name="T2" fmla="*/ 6 w 35"/>
                    <a:gd name="T3" fmla="*/ 18 h 55"/>
                    <a:gd name="T4" fmla="*/ 0 w 35"/>
                    <a:gd name="T5" fmla="*/ 10 h 55"/>
                    <a:gd name="T6" fmla="*/ 18 w 35"/>
                    <a:gd name="T7" fmla="*/ 0 h 55"/>
                    <a:gd name="T8" fmla="*/ 28 w 35"/>
                    <a:gd name="T9" fmla="*/ 0 h 55"/>
                    <a:gd name="T10" fmla="*/ 28 w 35"/>
                    <a:gd name="T11" fmla="*/ 44 h 55"/>
                    <a:gd name="T12" fmla="*/ 35 w 35"/>
                    <a:gd name="T13" fmla="*/ 46 h 55"/>
                    <a:gd name="T14" fmla="*/ 35 w 35"/>
                    <a:gd name="T15" fmla="*/ 55 h 55"/>
                    <a:gd name="T16" fmla="*/ 9 w 35"/>
                    <a:gd name="T17" fmla="*/ 55 h 55"/>
                    <a:gd name="T18" fmla="*/ 9 w 35"/>
                    <a:gd name="T19" fmla="*/ 46 h 55"/>
                    <a:gd name="T20" fmla="*/ 16 w 35"/>
                    <a:gd name="T21" fmla="*/ 44 h 55"/>
                    <a:gd name="T22" fmla="*/ 16 w 35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5" h="55">
                      <a:moveTo>
                        <a:pt x="16" y="12"/>
                      </a:moveTo>
                      <a:lnTo>
                        <a:pt x="6" y="18"/>
                      </a:lnTo>
                      <a:lnTo>
                        <a:pt x="0" y="10"/>
                      </a:lnTo>
                      <a:lnTo>
                        <a:pt x="18" y="0"/>
                      </a:lnTo>
                      <a:lnTo>
                        <a:pt x="28" y="0"/>
                      </a:lnTo>
                      <a:lnTo>
                        <a:pt x="28" y="44"/>
                      </a:lnTo>
                      <a:lnTo>
                        <a:pt x="35" y="46"/>
                      </a:lnTo>
                      <a:lnTo>
                        <a:pt x="35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6" y="4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95" name="Freeform 900">
                  <a:extLst>
                    <a:ext uri="{FF2B5EF4-FFF2-40B4-BE49-F238E27FC236}">
                      <a16:creationId xmlns:a16="http://schemas.microsoft.com/office/drawing/2014/main" id="{6E835965-194D-4216-FF3B-FECB809B635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10860" y="3284040"/>
                  <a:ext cx="32287" cy="49329"/>
                </a:xfrm>
                <a:custGeom>
                  <a:avLst/>
                  <a:gdLst>
                    <a:gd name="T0" fmla="*/ 15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7 w 36"/>
                    <a:gd name="T9" fmla="*/ 0 h 55"/>
                    <a:gd name="T10" fmla="*/ 27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8 w 36"/>
                    <a:gd name="T17" fmla="*/ 55 h 55"/>
                    <a:gd name="T18" fmla="*/ 8 w 36"/>
                    <a:gd name="T19" fmla="*/ 46 h 55"/>
                    <a:gd name="T20" fmla="*/ 15 w 36"/>
                    <a:gd name="T21" fmla="*/ 44 h 55"/>
                    <a:gd name="T22" fmla="*/ 15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8" y="55"/>
                      </a:lnTo>
                      <a:lnTo>
                        <a:pt x="8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96" name="Freeform 901">
                  <a:extLst>
                    <a:ext uri="{FF2B5EF4-FFF2-40B4-BE49-F238E27FC236}">
                      <a16:creationId xmlns:a16="http://schemas.microsoft.com/office/drawing/2014/main" id="{9C1FED15-CD0E-FAC5-DC5D-3585DD51352B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595166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97" name="Freeform 902">
                  <a:extLst>
                    <a:ext uri="{FF2B5EF4-FFF2-40B4-BE49-F238E27FC236}">
                      <a16:creationId xmlns:a16="http://schemas.microsoft.com/office/drawing/2014/main" id="{A9BD6291-E80F-3176-5CBB-B7E6F8DFE38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83062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98" name="Freeform 903">
                  <a:extLst>
                    <a:ext uri="{FF2B5EF4-FFF2-40B4-BE49-F238E27FC236}">
                      <a16:creationId xmlns:a16="http://schemas.microsoft.com/office/drawing/2014/main" id="{130A43DA-9D2B-B8B0-D44C-5EA26C33FBE5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767368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3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99" name="Freeform 904">
                  <a:extLst>
                    <a:ext uri="{FF2B5EF4-FFF2-40B4-BE49-F238E27FC236}">
                      <a16:creationId xmlns:a16="http://schemas.microsoft.com/office/drawing/2014/main" id="{7442D309-26D2-78E7-B7B8-7AECC572338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855263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7 w 36"/>
                    <a:gd name="T3" fmla="*/ 18 h 55"/>
                    <a:gd name="T4" fmla="*/ 0 w 36"/>
                    <a:gd name="T5" fmla="*/ 10 h 55"/>
                    <a:gd name="T6" fmla="*/ 19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1 w 36"/>
                    <a:gd name="T17" fmla="*/ 55 h 55"/>
                    <a:gd name="T18" fmla="*/ 11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7" y="18"/>
                      </a:lnTo>
                      <a:lnTo>
                        <a:pt x="0" y="10"/>
                      </a:lnTo>
                      <a:lnTo>
                        <a:pt x="19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1" y="55"/>
                      </a:lnTo>
                      <a:lnTo>
                        <a:pt x="11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00" name="Freeform 905">
                  <a:extLst>
                    <a:ext uri="{FF2B5EF4-FFF2-40B4-BE49-F238E27FC236}">
                      <a16:creationId xmlns:a16="http://schemas.microsoft.com/office/drawing/2014/main" id="{D52966B7-19CA-5041-430D-3A7C97D77AE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943158" y="3284040"/>
                  <a:ext cx="30495" cy="49329"/>
                </a:xfrm>
                <a:custGeom>
                  <a:avLst/>
                  <a:gdLst>
                    <a:gd name="T0" fmla="*/ 16 w 34"/>
                    <a:gd name="T1" fmla="*/ 12 h 55"/>
                    <a:gd name="T2" fmla="*/ 5 w 34"/>
                    <a:gd name="T3" fmla="*/ 18 h 55"/>
                    <a:gd name="T4" fmla="*/ 0 w 34"/>
                    <a:gd name="T5" fmla="*/ 10 h 55"/>
                    <a:gd name="T6" fmla="*/ 17 w 34"/>
                    <a:gd name="T7" fmla="*/ 0 h 55"/>
                    <a:gd name="T8" fmla="*/ 28 w 34"/>
                    <a:gd name="T9" fmla="*/ 0 h 55"/>
                    <a:gd name="T10" fmla="*/ 28 w 34"/>
                    <a:gd name="T11" fmla="*/ 44 h 55"/>
                    <a:gd name="T12" fmla="*/ 34 w 34"/>
                    <a:gd name="T13" fmla="*/ 46 h 55"/>
                    <a:gd name="T14" fmla="*/ 34 w 34"/>
                    <a:gd name="T15" fmla="*/ 55 h 55"/>
                    <a:gd name="T16" fmla="*/ 9 w 34"/>
                    <a:gd name="T17" fmla="*/ 55 h 55"/>
                    <a:gd name="T18" fmla="*/ 9 w 34"/>
                    <a:gd name="T19" fmla="*/ 46 h 55"/>
                    <a:gd name="T20" fmla="*/ 16 w 34"/>
                    <a:gd name="T21" fmla="*/ 44 h 55"/>
                    <a:gd name="T22" fmla="*/ 16 w 34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55">
                      <a:moveTo>
                        <a:pt x="16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8" y="0"/>
                      </a:lnTo>
                      <a:lnTo>
                        <a:pt x="28" y="44"/>
                      </a:lnTo>
                      <a:lnTo>
                        <a:pt x="34" y="46"/>
                      </a:lnTo>
                      <a:lnTo>
                        <a:pt x="34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6" y="4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01" name="Freeform 906">
                  <a:extLst>
                    <a:ext uri="{FF2B5EF4-FFF2-40B4-BE49-F238E27FC236}">
                      <a16:creationId xmlns:a16="http://schemas.microsoft.com/office/drawing/2014/main" id="{9E6C25C2-C7D5-9AD4-3B9D-4588FD6AF690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028362" y="3282246"/>
                  <a:ext cx="37669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7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7" y="24"/>
                        <a:pt x="17" y="17"/>
                      </a:cubicBezTo>
                      <a:cubicBezTo>
                        <a:pt x="17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02" name="Freeform 907">
                  <a:extLst>
                    <a:ext uri="{FF2B5EF4-FFF2-40B4-BE49-F238E27FC236}">
                      <a16:creationId xmlns:a16="http://schemas.microsoft.com/office/drawing/2014/main" id="{3575BAEC-3977-0563-D196-F1080467984F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114462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03" name="Freeform 908">
                  <a:extLst>
                    <a:ext uri="{FF2B5EF4-FFF2-40B4-BE49-F238E27FC236}">
                      <a16:creationId xmlns:a16="http://schemas.microsoft.com/office/drawing/2014/main" id="{9D44DE5E-829C-CD97-95E8-74674FFBBF74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200563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04" name="Freeform 909">
                  <a:extLst>
                    <a:ext uri="{FF2B5EF4-FFF2-40B4-BE49-F238E27FC236}">
                      <a16:creationId xmlns:a16="http://schemas.microsoft.com/office/drawing/2014/main" id="{36A4918D-9EFC-34CD-16FA-01681C692EA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288459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8 w 36"/>
                    <a:gd name="T17" fmla="*/ 55 h 55"/>
                    <a:gd name="T18" fmla="*/ 8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8" y="55"/>
                      </a:lnTo>
                      <a:lnTo>
                        <a:pt x="8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05" name="Freeform 910">
                  <a:extLst>
                    <a:ext uri="{FF2B5EF4-FFF2-40B4-BE49-F238E27FC236}">
                      <a16:creationId xmlns:a16="http://schemas.microsoft.com/office/drawing/2014/main" id="{66F90A18-F1F1-740F-9770-1482D820F0CE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372766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8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8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3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8" y="16"/>
                      </a:moveTo>
                      <a:cubicBezTo>
                        <a:pt x="8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8" y="9"/>
                        <a:pt x="8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06" name="Freeform 911">
                  <a:extLst>
                    <a:ext uri="{FF2B5EF4-FFF2-40B4-BE49-F238E27FC236}">
                      <a16:creationId xmlns:a16="http://schemas.microsoft.com/office/drawing/2014/main" id="{7BD6D2A1-C5A4-DD4F-EE66-2CB6DA373B0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460661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7 w 36"/>
                    <a:gd name="T3" fmla="*/ 18 h 55"/>
                    <a:gd name="T4" fmla="*/ 0 w 36"/>
                    <a:gd name="T5" fmla="*/ 10 h 55"/>
                    <a:gd name="T6" fmla="*/ 19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0 w 36"/>
                    <a:gd name="T17" fmla="*/ 55 h 55"/>
                    <a:gd name="T18" fmla="*/ 10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7" y="18"/>
                      </a:lnTo>
                      <a:lnTo>
                        <a:pt x="0" y="10"/>
                      </a:lnTo>
                      <a:lnTo>
                        <a:pt x="19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0" y="55"/>
                      </a:lnTo>
                      <a:lnTo>
                        <a:pt x="10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07" name="Freeform 912">
                  <a:extLst>
                    <a:ext uri="{FF2B5EF4-FFF2-40B4-BE49-F238E27FC236}">
                      <a16:creationId xmlns:a16="http://schemas.microsoft.com/office/drawing/2014/main" id="{9FE4845B-DD4A-AD67-83CB-F7DC8681C0C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548556" y="3284040"/>
                  <a:ext cx="30495" cy="49329"/>
                </a:xfrm>
                <a:custGeom>
                  <a:avLst/>
                  <a:gdLst>
                    <a:gd name="T0" fmla="*/ 15 w 34"/>
                    <a:gd name="T1" fmla="*/ 12 h 55"/>
                    <a:gd name="T2" fmla="*/ 5 w 34"/>
                    <a:gd name="T3" fmla="*/ 18 h 55"/>
                    <a:gd name="T4" fmla="*/ 0 w 34"/>
                    <a:gd name="T5" fmla="*/ 10 h 55"/>
                    <a:gd name="T6" fmla="*/ 17 w 34"/>
                    <a:gd name="T7" fmla="*/ 0 h 55"/>
                    <a:gd name="T8" fmla="*/ 27 w 34"/>
                    <a:gd name="T9" fmla="*/ 0 h 55"/>
                    <a:gd name="T10" fmla="*/ 27 w 34"/>
                    <a:gd name="T11" fmla="*/ 44 h 55"/>
                    <a:gd name="T12" fmla="*/ 34 w 34"/>
                    <a:gd name="T13" fmla="*/ 46 h 55"/>
                    <a:gd name="T14" fmla="*/ 34 w 34"/>
                    <a:gd name="T15" fmla="*/ 55 h 55"/>
                    <a:gd name="T16" fmla="*/ 9 w 34"/>
                    <a:gd name="T17" fmla="*/ 55 h 55"/>
                    <a:gd name="T18" fmla="*/ 9 w 34"/>
                    <a:gd name="T19" fmla="*/ 46 h 55"/>
                    <a:gd name="T20" fmla="*/ 15 w 34"/>
                    <a:gd name="T21" fmla="*/ 44 h 55"/>
                    <a:gd name="T22" fmla="*/ 15 w 34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4" y="46"/>
                      </a:lnTo>
                      <a:lnTo>
                        <a:pt x="34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08" name="Freeform 913">
                  <a:extLst>
                    <a:ext uri="{FF2B5EF4-FFF2-40B4-BE49-F238E27FC236}">
                      <a16:creationId xmlns:a16="http://schemas.microsoft.com/office/drawing/2014/main" id="{88668092-9EDA-52CC-8929-053398306D04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632863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09" name="Freeform 914">
                  <a:extLst>
                    <a:ext uri="{FF2B5EF4-FFF2-40B4-BE49-F238E27FC236}">
                      <a16:creationId xmlns:a16="http://schemas.microsoft.com/office/drawing/2014/main" id="{DCCD7242-E7CD-C30C-D327-6327A855251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720759" y="3284040"/>
                  <a:ext cx="32287" cy="49329"/>
                </a:xfrm>
                <a:custGeom>
                  <a:avLst/>
                  <a:gdLst>
                    <a:gd name="T0" fmla="*/ 16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8 w 36"/>
                    <a:gd name="T9" fmla="*/ 0 h 55"/>
                    <a:gd name="T10" fmla="*/ 28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6 w 36"/>
                    <a:gd name="T21" fmla="*/ 44 h 55"/>
                    <a:gd name="T22" fmla="*/ 16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6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8" y="0"/>
                      </a:lnTo>
                      <a:lnTo>
                        <a:pt x="28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6" y="4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10" name="Freeform 915">
                  <a:extLst>
                    <a:ext uri="{FF2B5EF4-FFF2-40B4-BE49-F238E27FC236}">
                      <a16:creationId xmlns:a16="http://schemas.microsoft.com/office/drawing/2014/main" id="{A414C316-D543-7B47-7AB4-4AD1F99B3F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805962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11" name="Freeform 916">
                  <a:extLst>
                    <a:ext uri="{FF2B5EF4-FFF2-40B4-BE49-F238E27FC236}">
                      <a16:creationId xmlns:a16="http://schemas.microsoft.com/office/drawing/2014/main" id="{B40CC70A-7D0D-0CA1-32D6-37780500B61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893858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0 w 36"/>
                    <a:gd name="T17" fmla="*/ 55 h 55"/>
                    <a:gd name="T18" fmla="*/ 10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0" y="55"/>
                      </a:lnTo>
                      <a:lnTo>
                        <a:pt x="10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12" name="Freeform 917">
                  <a:extLst>
                    <a:ext uri="{FF2B5EF4-FFF2-40B4-BE49-F238E27FC236}">
                      <a16:creationId xmlns:a16="http://schemas.microsoft.com/office/drawing/2014/main" id="{6914FDD1-02A6-C8A4-D754-5ED43473AA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978164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8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8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3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8" y="16"/>
                      </a:moveTo>
                      <a:cubicBezTo>
                        <a:pt x="8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8" y="9"/>
                        <a:pt x="8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13" name="Freeform 918">
                  <a:extLst>
                    <a:ext uri="{FF2B5EF4-FFF2-40B4-BE49-F238E27FC236}">
                      <a16:creationId xmlns:a16="http://schemas.microsoft.com/office/drawing/2014/main" id="{5DDCAF78-A87B-E466-97FB-7E403C4640A3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064265" y="3282246"/>
                  <a:ext cx="38566" cy="51123"/>
                </a:xfrm>
                <a:custGeom>
                  <a:avLst/>
                  <a:gdLst>
                    <a:gd name="T0" fmla="*/ 24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4 w 25"/>
                    <a:gd name="T15" fmla="*/ 6 h 33"/>
                    <a:gd name="T16" fmla="*/ 8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8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4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5" y="26"/>
                        <a:pt x="23" y="29"/>
                      </a:cubicBezTo>
                      <a:cubicBezTo>
                        <a:pt x="21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5" y="0"/>
                        <a:pt x="13" y="0"/>
                      </a:cubicBezTo>
                      <a:cubicBezTo>
                        <a:pt x="18" y="0"/>
                        <a:pt x="22" y="2"/>
                        <a:pt x="24" y="6"/>
                      </a:cubicBezTo>
                      <a:close/>
                      <a:moveTo>
                        <a:pt x="8" y="16"/>
                      </a:moveTo>
                      <a:cubicBezTo>
                        <a:pt x="8" y="24"/>
                        <a:pt x="9" y="28"/>
                        <a:pt x="13" y="28"/>
                      </a:cubicBezTo>
                      <a:cubicBezTo>
                        <a:pt x="17" y="28"/>
                        <a:pt x="18" y="24"/>
                        <a:pt x="18" y="17"/>
                      </a:cubicBezTo>
                      <a:cubicBezTo>
                        <a:pt x="18" y="9"/>
                        <a:pt x="17" y="6"/>
                        <a:pt x="13" y="6"/>
                      </a:cubicBezTo>
                      <a:cubicBezTo>
                        <a:pt x="9" y="6"/>
                        <a:pt x="8" y="9"/>
                        <a:pt x="8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14" name="Freeform 919">
                  <a:extLst>
                    <a:ext uri="{FF2B5EF4-FFF2-40B4-BE49-F238E27FC236}">
                      <a16:creationId xmlns:a16="http://schemas.microsoft.com/office/drawing/2014/main" id="{D50A8812-03A4-FC70-C9B6-D7D088F1070F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152160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7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6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8" y="28"/>
                        <a:pt x="12" y="28"/>
                      </a:cubicBezTo>
                      <a:cubicBezTo>
                        <a:pt x="16" y="28"/>
                        <a:pt x="17" y="24"/>
                        <a:pt x="17" y="17"/>
                      </a:cubicBezTo>
                      <a:cubicBezTo>
                        <a:pt x="17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15" name="Freeform 920">
                  <a:extLst>
                    <a:ext uri="{FF2B5EF4-FFF2-40B4-BE49-F238E27FC236}">
                      <a16:creationId xmlns:a16="http://schemas.microsoft.com/office/drawing/2014/main" id="{289BFC11-0007-9054-B70B-14681D59DBA2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238261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16" name="Freeform 921">
                  <a:extLst>
                    <a:ext uri="{FF2B5EF4-FFF2-40B4-BE49-F238E27FC236}">
                      <a16:creationId xmlns:a16="http://schemas.microsoft.com/office/drawing/2014/main" id="{3581076D-40AB-A2F8-95D5-C3CBD199B03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326157" y="3284040"/>
                  <a:ext cx="32287" cy="49329"/>
                </a:xfrm>
                <a:custGeom>
                  <a:avLst/>
                  <a:gdLst>
                    <a:gd name="T0" fmla="*/ 16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8 w 36"/>
                    <a:gd name="T9" fmla="*/ 0 h 55"/>
                    <a:gd name="T10" fmla="*/ 28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6 w 36"/>
                    <a:gd name="T21" fmla="*/ 44 h 55"/>
                    <a:gd name="T22" fmla="*/ 16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6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8" y="0"/>
                      </a:lnTo>
                      <a:lnTo>
                        <a:pt x="28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6" y="4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17" name="Freeform 922">
                  <a:extLst>
                    <a:ext uri="{FF2B5EF4-FFF2-40B4-BE49-F238E27FC236}">
                      <a16:creationId xmlns:a16="http://schemas.microsoft.com/office/drawing/2014/main" id="{3970E83D-678A-6F74-0068-90308F49F556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411361" y="3282246"/>
                  <a:ext cx="37669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18" name="Freeform 923">
                  <a:extLst>
                    <a:ext uri="{FF2B5EF4-FFF2-40B4-BE49-F238E27FC236}">
                      <a16:creationId xmlns:a16="http://schemas.microsoft.com/office/drawing/2014/main" id="{39E8738F-51AE-9446-456B-B6559B4900EC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497461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219" name="Freeform 924">
                  <a:extLst>
                    <a:ext uri="{FF2B5EF4-FFF2-40B4-BE49-F238E27FC236}">
                      <a16:creationId xmlns:a16="http://schemas.microsoft.com/office/drawing/2014/main" id="{D890751C-0938-AD69-25BD-E6D73366E25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585357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6 w 36"/>
                    <a:gd name="T3" fmla="*/ 18 h 55"/>
                    <a:gd name="T4" fmla="*/ 0 w 36"/>
                    <a:gd name="T5" fmla="*/ 10 h 55"/>
                    <a:gd name="T6" fmla="*/ 18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0 w 36"/>
                    <a:gd name="T17" fmla="*/ 55 h 55"/>
                    <a:gd name="T18" fmla="*/ 10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6" y="18"/>
                      </a:lnTo>
                      <a:lnTo>
                        <a:pt x="0" y="10"/>
                      </a:lnTo>
                      <a:lnTo>
                        <a:pt x="18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0" y="55"/>
                      </a:lnTo>
                      <a:lnTo>
                        <a:pt x="10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</p:grpSp>
          <p:grpSp>
            <p:nvGrpSpPr>
              <p:cNvPr id="141" name="Group 141">
                <a:extLst>
                  <a:ext uri="{FF2B5EF4-FFF2-40B4-BE49-F238E27FC236}">
                    <a16:creationId xmlns:a16="http://schemas.microsoft.com/office/drawing/2014/main" id="{CB5EC5AF-B188-3FDC-A496-672809804BB7}"/>
                  </a:ext>
                </a:extLst>
              </p:cNvPr>
              <p:cNvGrpSpPr/>
              <p:nvPr/>
            </p:nvGrpSpPr>
            <p:grpSpPr bwMode="gray">
              <a:xfrm>
                <a:off x="627062" y="5241503"/>
                <a:ext cx="4405225" cy="67883"/>
                <a:chOff x="4300063" y="3282246"/>
                <a:chExt cx="3317581" cy="51123"/>
              </a:xfrm>
              <a:solidFill>
                <a:srgbClr val="0F8287"/>
              </a:solidFill>
            </p:grpSpPr>
            <p:sp>
              <p:nvSpPr>
                <p:cNvPr id="142" name="Freeform 886">
                  <a:extLst>
                    <a:ext uri="{FF2B5EF4-FFF2-40B4-BE49-F238E27FC236}">
                      <a16:creationId xmlns:a16="http://schemas.microsoft.com/office/drawing/2014/main" id="{5A084915-851D-A04C-D510-56BDB4C472D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300063" y="3284040"/>
                  <a:ext cx="30495" cy="49329"/>
                </a:xfrm>
                <a:custGeom>
                  <a:avLst/>
                  <a:gdLst>
                    <a:gd name="T0" fmla="*/ 15 w 34"/>
                    <a:gd name="T1" fmla="*/ 12 h 55"/>
                    <a:gd name="T2" fmla="*/ 5 w 34"/>
                    <a:gd name="T3" fmla="*/ 18 h 55"/>
                    <a:gd name="T4" fmla="*/ 0 w 34"/>
                    <a:gd name="T5" fmla="*/ 10 h 55"/>
                    <a:gd name="T6" fmla="*/ 17 w 34"/>
                    <a:gd name="T7" fmla="*/ 0 h 55"/>
                    <a:gd name="T8" fmla="*/ 27 w 34"/>
                    <a:gd name="T9" fmla="*/ 0 h 55"/>
                    <a:gd name="T10" fmla="*/ 27 w 34"/>
                    <a:gd name="T11" fmla="*/ 44 h 55"/>
                    <a:gd name="T12" fmla="*/ 34 w 34"/>
                    <a:gd name="T13" fmla="*/ 46 h 55"/>
                    <a:gd name="T14" fmla="*/ 34 w 34"/>
                    <a:gd name="T15" fmla="*/ 55 h 55"/>
                    <a:gd name="T16" fmla="*/ 9 w 34"/>
                    <a:gd name="T17" fmla="*/ 55 h 55"/>
                    <a:gd name="T18" fmla="*/ 9 w 34"/>
                    <a:gd name="T19" fmla="*/ 46 h 55"/>
                    <a:gd name="T20" fmla="*/ 15 w 34"/>
                    <a:gd name="T21" fmla="*/ 44 h 55"/>
                    <a:gd name="T22" fmla="*/ 15 w 34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4" y="46"/>
                      </a:lnTo>
                      <a:lnTo>
                        <a:pt x="34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43" name="Freeform 887">
                  <a:extLst>
                    <a:ext uri="{FF2B5EF4-FFF2-40B4-BE49-F238E27FC236}">
                      <a16:creationId xmlns:a16="http://schemas.microsoft.com/office/drawing/2014/main" id="{11F1CBD5-F495-3996-AF20-3CC5876EEDBF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384369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44" name="Freeform 888">
                  <a:extLst>
                    <a:ext uri="{FF2B5EF4-FFF2-40B4-BE49-F238E27FC236}">
                      <a16:creationId xmlns:a16="http://schemas.microsoft.com/office/drawing/2014/main" id="{343E1BBB-3609-3E54-DE51-DD6C852363F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472265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30 w 36"/>
                    <a:gd name="T9" fmla="*/ 0 h 55"/>
                    <a:gd name="T10" fmla="*/ 30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30" y="0"/>
                      </a:lnTo>
                      <a:lnTo>
                        <a:pt x="30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45" name="Freeform 889">
                  <a:extLst>
                    <a:ext uri="{FF2B5EF4-FFF2-40B4-BE49-F238E27FC236}">
                      <a16:creationId xmlns:a16="http://schemas.microsoft.com/office/drawing/2014/main" id="{162BB2AB-EDB1-F487-2E4A-45DB3796375E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557468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46" name="Freeform 890">
                  <a:extLst>
                    <a:ext uri="{FF2B5EF4-FFF2-40B4-BE49-F238E27FC236}">
                      <a16:creationId xmlns:a16="http://schemas.microsoft.com/office/drawing/2014/main" id="{A9B6BADC-2F22-2017-2957-7EB4C202EDA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45364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7 w 36"/>
                    <a:gd name="T3" fmla="*/ 18 h 55"/>
                    <a:gd name="T4" fmla="*/ 0 w 36"/>
                    <a:gd name="T5" fmla="*/ 10 h 55"/>
                    <a:gd name="T6" fmla="*/ 19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0 w 36"/>
                    <a:gd name="T17" fmla="*/ 55 h 55"/>
                    <a:gd name="T18" fmla="*/ 10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7" y="18"/>
                      </a:lnTo>
                      <a:lnTo>
                        <a:pt x="0" y="10"/>
                      </a:lnTo>
                      <a:lnTo>
                        <a:pt x="19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0" y="55"/>
                      </a:lnTo>
                      <a:lnTo>
                        <a:pt x="10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47" name="Freeform 891">
                  <a:extLst>
                    <a:ext uri="{FF2B5EF4-FFF2-40B4-BE49-F238E27FC236}">
                      <a16:creationId xmlns:a16="http://schemas.microsoft.com/office/drawing/2014/main" id="{2EEC39DA-78AC-621F-E2C2-B61F64EE9BF9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731464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1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7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6" y="33"/>
                        <a:pt x="12" y="33"/>
                      </a:cubicBezTo>
                      <a:cubicBezTo>
                        <a:pt x="7" y="33"/>
                        <a:pt x="3" y="31"/>
                        <a:pt x="1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8" y="28"/>
                        <a:pt x="12" y="28"/>
                      </a:cubicBezTo>
                      <a:cubicBezTo>
                        <a:pt x="16" y="28"/>
                        <a:pt x="17" y="24"/>
                        <a:pt x="17" y="17"/>
                      </a:cubicBezTo>
                      <a:cubicBezTo>
                        <a:pt x="17" y="9"/>
                        <a:pt x="16" y="6"/>
                        <a:pt x="12" y="6"/>
                      </a:cubicBezTo>
                      <a:cubicBezTo>
                        <a:pt x="8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48" name="Freeform 892">
                  <a:extLst>
                    <a:ext uri="{FF2B5EF4-FFF2-40B4-BE49-F238E27FC236}">
                      <a16:creationId xmlns:a16="http://schemas.microsoft.com/office/drawing/2014/main" id="{CDC4B43A-199C-2898-94E4-18EBB9A14A3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819360" y="3284040"/>
                  <a:ext cx="30495" cy="49329"/>
                </a:xfrm>
                <a:custGeom>
                  <a:avLst/>
                  <a:gdLst>
                    <a:gd name="T0" fmla="*/ 15 w 34"/>
                    <a:gd name="T1" fmla="*/ 12 h 55"/>
                    <a:gd name="T2" fmla="*/ 5 w 34"/>
                    <a:gd name="T3" fmla="*/ 18 h 55"/>
                    <a:gd name="T4" fmla="*/ 0 w 34"/>
                    <a:gd name="T5" fmla="*/ 10 h 55"/>
                    <a:gd name="T6" fmla="*/ 17 w 34"/>
                    <a:gd name="T7" fmla="*/ 0 h 55"/>
                    <a:gd name="T8" fmla="*/ 27 w 34"/>
                    <a:gd name="T9" fmla="*/ 0 h 55"/>
                    <a:gd name="T10" fmla="*/ 27 w 34"/>
                    <a:gd name="T11" fmla="*/ 44 h 55"/>
                    <a:gd name="T12" fmla="*/ 34 w 34"/>
                    <a:gd name="T13" fmla="*/ 46 h 55"/>
                    <a:gd name="T14" fmla="*/ 34 w 34"/>
                    <a:gd name="T15" fmla="*/ 55 h 55"/>
                    <a:gd name="T16" fmla="*/ 8 w 34"/>
                    <a:gd name="T17" fmla="*/ 55 h 55"/>
                    <a:gd name="T18" fmla="*/ 8 w 34"/>
                    <a:gd name="T19" fmla="*/ 46 h 55"/>
                    <a:gd name="T20" fmla="*/ 15 w 34"/>
                    <a:gd name="T21" fmla="*/ 44 h 55"/>
                    <a:gd name="T22" fmla="*/ 15 w 34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4" y="46"/>
                      </a:lnTo>
                      <a:lnTo>
                        <a:pt x="34" y="55"/>
                      </a:lnTo>
                      <a:lnTo>
                        <a:pt x="8" y="55"/>
                      </a:lnTo>
                      <a:lnTo>
                        <a:pt x="8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49" name="Freeform 893">
                  <a:extLst>
                    <a:ext uri="{FF2B5EF4-FFF2-40B4-BE49-F238E27FC236}">
                      <a16:creationId xmlns:a16="http://schemas.microsoft.com/office/drawing/2014/main" id="{1DEA83E5-955E-5D66-4FBB-8A9F5230DD2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905461" y="3284040"/>
                  <a:ext cx="32287" cy="49329"/>
                </a:xfrm>
                <a:custGeom>
                  <a:avLst/>
                  <a:gdLst>
                    <a:gd name="T0" fmla="*/ 15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7 w 36"/>
                    <a:gd name="T9" fmla="*/ 0 h 55"/>
                    <a:gd name="T10" fmla="*/ 27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8 w 36"/>
                    <a:gd name="T17" fmla="*/ 55 h 55"/>
                    <a:gd name="T18" fmla="*/ 8 w 36"/>
                    <a:gd name="T19" fmla="*/ 46 h 55"/>
                    <a:gd name="T20" fmla="*/ 15 w 36"/>
                    <a:gd name="T21" fmla="*/ 44 h 55"/>
                    <a:gd name="T22" fmla="*/ 15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8" y="55"/>
                      </a:lnTo>
                      <a:lnTo>
                        <a:pt x="8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50" name="Freeform 894">
                  <a:extLst>
                    <a:ext uri="{FF2B5EF4-FFF2-40B4-BE49-F238E27FC236}">
                      <a16:creationId xmlns:a16="http://schemas.microsoft.com/office/drawing/2014/main" id="{97F2C028-233A-3AC1-6140-CE1DF54958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991562" y="3284040"/>
                  <a:ext cx="32287" cy="49329"/>
                </a:xfrm>
                <a:custGeom>
                  <a:avLst/>
                  <a:gdLst>
                    <a:gd name="T0" fmla="*/ 15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7 w 36"/>
                    <a:gd name="T9" fmla="*/ 0 h 55"/>
                    <a:gd name="T10" fmla="*/ 27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5 w 36"/>
                    <a:gd name="T21" fmla="*/ 44 h 55"/>
                    <a:gd name="T22" fmla="*/ 15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51" name="Freeform 895">
                  <a:extLst>
                    <a:ext uri="{FF2B5EF4-FFF2-40B4-BE49-F238E27FC236}">
                      <a16:creationId xmlns:a16="http://schemas.microsoft.com/office/drawing/2014/main" id="{08986D62-92D0-B358-AA45-1C31DB1F34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075869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52" name="Freeform 896">
                  <a:extLst>
                    <a:ext uri="{FF2B5EF4-FFF2-40B4-BE49-F238E27FC236}">
                      <a16:creationId xmlns:a16="http://schemas.microsoft.com/office/drawing/2014/main" id="{75BA120A-D1BC-8F3A-251F-2587D62F8F0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63765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1 w 36"/>
                    <a:gd name="T17" fmla="*/ 55 h 55"/>
                    <a:gd name="T18" fmla="*/ 11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1" y="55"/>
                      </a:lnTo>
                      <a:lnTo>
                        <a:pt x="11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53" name="Freeform 897">
                  <a:extLst>
                    <a:ext uri="{FF2B5EF4-FFF2-40B4-BE49-F238E27FC236}">
                      <a16:creationId xmlns:a16="http://schemas.microsoft.com/office/drawing/2014/main" id="{3A9B6FDB-C117-F5F6-2214-FFCAF2C366B4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248968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8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8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5" y="26"/>
                        <a:pt x="23" y="29"/>
                      </a:cubicBezTo>
                      <a:cubicBezTo>
                        <a:pt x="21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5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8" y="16"/>
                      </a:moveTo>
                      <a:cubicBezTo>
                        <a:pt x="8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8" y="9"/>
                        <a:pt x="8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54" name="Freeform 898">
                  <a:extLst>
                    <a:ext uri="{FF2B5EF4-FFF2-40B4-BE49-F238E27FC236}">
                      <a16:creationId xmlns:a16="http://schemas.microsoft.com/office/drawing/2014/main" id="{85886F49-6108-F87E-4ACB-BE9CD2CE7D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336863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1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7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6" y="33"/>
                        <a:pt x="12" y="33"/>
                      </a:cubicBezTo>
                      <a:cubicBezTo>
                        <a:pt x="7" y="33"/>
                        <a:pt x="3" y="31"/>
                        <a:pt x="1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8" y="28"/>
                        <a:pt x="12" y="28"/>
                      </a:cubicBezTo>
                      <a:cubicBezTo>
                        <a:pt x="16" y="28"/>
                        <a:pt x="17" y="24"/>
                        <a:pt x="17" y="17"/>
                      </a:cubicBezTo>
                      <a:cubicBezTo>
                        <a:pt x="17" y="9"/>
                        <a:pt x="16" y="6"/>
                        <a:pt x="12" y="6"/>
                      </a:cubicBezTo>
                      <a:cubicBezTo>
                        <a:pt x="8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55" name="Freeform 899">
                  <a:extLst>
                    <a:ext uri="{FF2B5EF4-FFF2-40B4-BE49-F238E27FC236}">
                      <a16:creationId xmlns:a16="http://schemas.microsoft.com/office/drawing/2014/main" id="{D9341C2A-840D-4A00-2699-E2FED678AF0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23862" y="3284040"/>
                  <a:ext cx="31391" cy="49329"/>
                </a:xfrm>
                <a:custGeom>
                  <a:avLst/>
                  <a:gdLst>
                    <a:gd name="T0" fmla="*/ 16 w 35"/>
                    <a:gd name="T1" fmla="*/ 12 h 55"/>
                    <a:gd name="T2" fmla="*/ 6 w 35"/>
                    <a:gd name="T3" fmla="*/ 18 h 55"/>
                    <a:gd name="T4" fmla="*/ 0 w 35"/>
                    <a:gd name="T5" fmla="*/ 10 h 55"/>
                    <a:gd name="T6" fmla="*/ 18 w 35"/>
                    <a:gd name="T7" fmla="*/ 0 h 55"/>
                    <a:gd name="T8" fmla="*/ 28 w 35"/>
                    <a:gd name="T9" fmla="*/ 0 h 55"/>
                    <a:gd name="T10" fmla="*/ 28 w 35"/>
                    <a:gd name="T11" fmla="*/ 44 h 55"/>
                    <a:gd name="T12" fmla="*/ 35 w 35"/>
                    <a:gd name="T13" fmla="*/ 46 h 55"/>
                    <a:gd name="T14" fmla="*/ 35 w 35"/>
                    <a:gd name="T15" fmla="*/ 55 h 55"/>
                    <a:gd name="T16" fmla="*/ 9 w 35"/>
                    <a:gd name="T17" fmla="*/ 55 h 55"/>
                    <a:gd name="T18" fmla="*/ 9 w 35"/>
                    <a:gd name="T19" fmla="*/ 46 h 55"/>
                    <a:gd name="T20" fmla="*/ 16 w 35"/>
                    <a:gd name="T21" fmla="*/ 44 h 55"/>
                    <a:gd name="T22" fmla="*/ 16 w 35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5" h="55">
                      <a:moveTo>
                        <a:pt x="16" y="12"/>
                      </a:moveTo>
                      <a:lnTo>
                        <a:pt x="6" y="18"/>
                      </a:lnTo>
                      <a:lnTo>
                        <a:pt x="0" y="10"/>
                      </a:lnTo>
                      <a:lnTo>
                        <a:pt x="18" y="0"/>
                      </a:lnTo>
                      <a:lnTo>
                        <a:pt x="28" y="0"/>
                      </a:lnTo>
                      <a:lnTo>
                        <a:pt x="28" y="44"/>
                      </a:lnTo>
                      <a:lnTo>
                        <a:pt x="35" y="46"/>
                      </a:lnTo>
                      <a:lnTo>
                        <a:pt x="35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6" y="4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56" name="Freeform 900">
                  <a:extLst>
                    <a:ext uri="{FF2B5EF4-FFF2-40B4-BE49-F238E27FC236}">
                      <a16:creationId xmlns:a16="http://schemas.microsoft.com/office/drawing/2014/main" id="{2A3788FC-E2F7-414C-D4C9-DED3CE7A181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10860" y="3284040"/>
                  <a:ext cx="32287" cy="49329"/>
                </a:xfrm>
                <a:custGeom>
                  <a:avLst/>
                  <a:gdLst>
                    <a:gd name="T0" fmla="*/ 15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7 w 36"/>
                    <a:gd name="T9" fmla="*/ 0 h 55"/>
                    <a:gd name="T10" fmla="*/ 27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8 w 36"/>
                    <a:gd name="T17" fmla="*/ 55 h 55"/>
                    <a:gd name="T18" fmla="*/ 8 w 36"/>
                    <a:gd name="T19" fmla="*/ 46 h 55"/>
                    <a:gd name="T20" fmla="*/ 15 w 36"/>
                    <a:gd name="T21" fmla="*/ 44 h 55"/>
                    <a:gd name="T22" fmla="*/ 15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8" y="55"/>
                      </a:lnTo>
                      <a:lnTo>
                        <a:pt x="8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57" name="Freeform 901">
                  <a:extLst>
                    <a:ext uri="{FF2B5EF4-FFF2-40B4-BE49-F238E27FC236}">
                      <a16:creationId xmlns:a16="http://schemas.microsoft.com/office/drawing/2014/main" id="{14BAD80F-6C1C-742E-5A50-653099773388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595166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58" name="Freeform 902">
                  <a:extLst>
                    <a:ext uri="{FF2B5EF4-FFF2-40B4-BE49-F238E27FC236}">
                      <a16:creationId xmlns:a16="http://schemas.microsoft.com/office/drawing/2014/main" id="{BF87B376-1E63-9FA8-6AA4-111BBC0A1D3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83062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59" name="Freeform 903">
                  <a:extLst>
                    <a:ext uri="{FF2B5EF4-FFF2-40B4-BE49-F238E27FC236}">
                      <a16:creationId xmlns:a16="http://schemas.microsoft.com/office/drawing/2014/main" id="{DBE076BB-35E3-12F2-5AB2-80506E85ADBE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5767368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3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60" name="Freeform 904">
                  <a:extLst>
                    <a:ext uri="{FF2B5EF4-FFF2-40B4-BE49-F238E27FC236}">
                      <a16:creationId xmlns:a16="http://schemas.microsoft.com/office/drawing/2014/main" id="{CFD96434-8402-DC70-EFAD-140FD0B4602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855263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7 w 36"/>
                    <a:gd name="T3" fmla="*/ 18 h 55"/>
                    <a:gd name="T4" fmla="*/ 0 w 36"/>
                    <a:gd name="T5" fmla="*/ 10 h 55"/>
                    <a:gd name="T6" fmla="*/ 19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1 w 36"/>
                    <a:gd name="T17" fmla="*/ 55 h 55"/>
                    <a:gd name="T18" fmla="*/ 11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7" y="18"/>
                      </a:lnTo>
                      <a:lnTo>
                        <a:pt x="0" y="10"/>
                      </a:lnTo>
                      <a:lnTo>
                        <a:pt x="19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1" y="55"/>
                      </a:lnTo>
                      <a:lnTo>
                        <a:pt x="11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61" name="Freeform 905">
                  <a:extLst>
                    <a:ext uri="{FF2B5EF4-FFF2-40B4-BE49-F238E27FC236}">
                      <a16:creationId xmlns:a16="http://schemas.microsoft.com/office/drawing/2014/main" id="{27A307B0-527F-3A0F-BB61-14D7A006D19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943158" y="3284040"/>
                  <a:ext cx="30495" cy="49329"/>
                </a:xfrm>
                <a:custGeom>
                  <a:avLst/>
                  <a:gdLst>
                    <a:gd name="T0" fmla="*/ 16 w 34"/>
                    <a:gd name="T1" fmla="*/ 12 h 55"/>
                    <a:gd name="T2" fmla="*/ 5 w 34"/>
                    <a:gd name="T3" fmla="*/ 18 h 55"/>
                    <a:gd name="T4" fmla="*/ 0 w 34"/>
                    <a:gd name="T5" fmla="*/ 10 h 55"/>
                    <a:gd name="T6" fmla="*/ 17 w 34"/>
                    <a:gd name="T7" fmla="*/ 0 h 55"/>
                    <a:gd name="T8" fmla="*/ 28 w 34"/>
                    <a:gd name="T9" fmla="*/ 0 h 55"/>
                    <a:gd name="T10" fmla="*/ 28 w 34"/>
                    <a:gd name="T11" fmla="*/ 44 h 55"/>
                    <a:gd name="T12" fmla="*/ 34 w 34"/>
                    <a:gd name="T13" fmla="*/ 46 h 55"/>
                    <a:gd name="T14" fmla="*/ 34 w 34"/>
                    <a:gd name="T15" fmla="*/ 55 h 55"/>
                    <a:gd name="T16" fmla="*/ 9 w 34"/>
                    <a:gd name="T17" fmla="*/ 55 h 55"/>
                    <a:gd name="T18" fmla="*/ 9 w 34"/>
                    <a:gd name="T19" fmla="*/ 46 h 55"/>
                    <a:gd name="T20" fmla="*/ 16 w 34"/>
                    <a:gd name="T21" fmla="*/ 44 h 55"/>
                    <a:gd name="T22" fmla="*/ 16 w 34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55">
                      <a:moveTo>
                        <a:pt x="16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8" y="0"/>
                      </a:lnTo>
                      <a:lnTo>
                        <a:pt x="28" y="44"/>
                      </a:lnTo>
                      <a:lnTo>
                        <a:pt x="34" y="46"/>
                      </a:lnTo>
                      <a:lnTo>
                        <a:pt x="34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6" y="4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62" name="Freeform 906">
                  <a:extLst>
                    <a:ext uri="{FF2B5EF4-FFF2-40B4-BE49-F238E27FC236}">
                      <a16:creationId xmlns:a16="http://schemas.microsoft.com/office/drawing/2014/main" id="{0A27A02F-A580-0510-01E8-2F6ABC620F96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028362" y="3282246"/>
                  <a:ext cx="37669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7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7" y="24"/>
                        <a:pt x="17" y="17"/>
                      </a:cubicBezTo>
                      <a:cubicBezTo>
                        <a:pt x="17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63" name="Freeform 907">
                  <a:extLst>
                    <a:ext uri="{FF2B5EF4-FFF2-40B4-BE49-F238E27FC236}">
                      <a16:creationId xmlns:a16="http://schemas.microsoft.com/office/drawing/2014/main" id="{1C2CE938-97DB-4E9A-EEC2-0ABFC7D1EFE3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114462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64" name="Freeform 908">
                  <a:extLst>
                    <a:ext uri="{FF2B5EF4-FFF2-40B4-BE49-F238E27FC236}">
                      <a16:creationId xmlns:a16="http://schemas.microsoft.com/office/drawing/2014/main" id="{5FB8B566-8398-9F9C-D920-4EEFFD5FAAA6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200563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65" name="Freeform 909">
                  <a:extLst>
                    <a:ext uri="{FF2B5EF4-FFF2-40B4-BE49-F238E27FC236}">
                      <a16:creationId xmlns:a16="http://schemas.microsoft.com/office/drawing/2014/main" id="{9517D8EF-4FC7-18FF-56A5-6976605234C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288459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8 w 36"/>
                    <a:gd name="T17" fmla="*/ 55 h 55"/>
                    <a:gd name="T18" fmla="*/ 8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8" y="55"/>
                      </a:lnTo>
                      <a:lnTo>
                        <a:pt x="8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66" name="Freeform 910">
                  <a:extLst>
                    <a:ext uri="{FF2B5EF4-FFF2-40B4-BE49-F238E27FC236}">
                      <a16:creationId xmlns:a16="http://schemas.microsoft.com/office/drawing/2014/main" id="{ED9CFB57-A02E-9635-6A24-F0479BCA5B59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372766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8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8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3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8" y="16"/>
                      </a:moveTo>
                      <a:cubicBezTo>
                        <a:pt x="8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8" y="9"/>
                        <a:pt x="8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67" name="Freeform 911">
                  <a:extLst>
                    <a:ext uri="{FF2B5EF4-FFF2-40B4-BE49-F238E27FC236}">
                      <a16:creationId xmlns:a16="http://schemas.microsoft.com/office/drawing/2014/main" id="{7F61E641-5D59-EA17-8C79-35F30CE293A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460661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7 w 36"/>
                    <a:gd name="T3" fmla="*/ 18 h 55"/>
                    <a:gd name="T4" fmla="*/ 0 w 36"/>
                    <a:gd name="T5" fmla="*/ 10 h 55"/>
                    <a:gd name="T6" fmla="*/ 19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0 w 36"/>
                    <a:gd name="T17" fmla="*/ 55 h 55"/>
                    <a:gd name="T18" fmla="*/ 10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7" y="18"/>
                      </a:lnTo>
                      <a:lnTo>
                        <a:pt x="0" y="10"/>
                      </a:lnTo>
                      <a:lnTo>
                        <a:pt x="19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0" y="55"/>
                      </a:lnTo>
                      <a:lnTo>
                        <a:pt x="10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68" name="Freeform 912">
                  <a:extLst>
                    <a:ext uri="{FF2B5EF4-FFF2-40B4-BE49-F238E27FC236}">
                      <a16:creationId xmlns:a16="http://schemas.microsoft.com/office/drawing/2014/main" id="{058015BE-B4BD-5C70-2F2E-010F358AE4F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548556" y="3284040"/>
                  <a:ext cx="30495" cy="49329"/>
                </a:xfrm>
                <a:custGeom>
                  <a:avLst/>
                  <a:gdLst>
                    <a:gd name="T0" fmla="*/ 15 w 34"/>
                    <a:gd name="T1" fmla="*/ 12 h 55"/>
                    <a:gd name="T2" fmla="*/ 5 w 34"/>
                    <a:gd name="T3" fmla="*/ 18 h 55"/>
                    <a:gd name="T4" fmla="*/ 0 w 34"/>
                    <a:gd name="T5" fmla="*/ 10 h 55"/>
                    <a:gd name="T6" fmla="*/ 17 w 34"/>
                    <a:gd name="T7" fmla="*/ 0 h 55"/>
                    <a:gd name="T8" fmla="*/ 27 w 34"/>
                    <a:gd name="T9" fmla="*/ 0 h 55"/>
                    <a:gd name="T10" fmla="*/ 27 w 34"/>
                    <a:gd name="T11" fmla="*/ 44 h 55"/>
                    <a:gd name="T12" fmla="*/ 34 w 34"/>
                    <a:gd name="T13" fmla="*/ 46 h 55"/>
                    <a:gd name="T14" fmla="*/ 34 w 34"/>
                    <a:gd name="T15" fmla="*/ 55 h 55"/>
                    <a:gd name="T16" fmla="*/ 9 w 34"/>
                    <a:gd name="T17" fmla="*/ 55 h 55"/>
                    <a:gd name="T18" fmla="*/ 9 w 34"/>
                    <a:gd name="T19" fmla="*/ 46 h 55"/>
                    <a:gd name="T20" fmla="*/ 15 w 34"/>
                    <a:gd name="T21" fmla="*/ 44 h 55"/>
                    <a:gd name="T22" fmla="*/ 15 w 34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" h="55">
                      <a:moveTo>
                        <a:pt x="15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7" y="0"/>
                      </a:lnTo>
                      <a:lnTo>
                        <a:pt x="27" y="44"/>
                      </a:lnTo>
                      <a:lnTo>
                        <a:pt x="34" y="46"/>
                      </a:lnTo>
                      <a:lnTo>
                        <a:pt x="34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5" y="44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69" name="Freeform 913">
                  <a:extLst>
                    <a:ext uri="{FF2B5EF4-FFF2-40B4-BE49-F238E27FC236}">
                      <a16:creationId xmlns:a16="http://schemas.microsoft.com/office/drawing/2014/main" id="{8774ADBF-EA70-FD84-1285-4F38866D6DBB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632863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70" name="Freeform 914">
                  <a:extLst>
                    <a:ext uri="{FF2B5EF4-FFF2-40B4-BE49-F238E27FC236}">
                      <a16:creationId xmlns:a16="http://schemas.microsoft.com/office/drawing/2014/main" id="{8B4165CA-34F3-89BE-5837-967F40030E8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720759" y="3284040"/>
                  <a:ext cx="32287" cy="49329"/>
                </a:xfrm>
                <a:custGeom>
                  <a:avLst/>
                  <a:gdLst>
                    <a:gd name="T0" fmla="*/ 16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8 w 36"/>
                    <a:gd name="T9" fmla="*/ 0 h 55"/>
                    <a:gd name="T10" fmla="*/ 28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6 w 36"/>
                    <a:gd name="T21" fmla="*/ 44 h 55"/>
                    <a:gd name="T22" fmla="*/ 16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6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8" y="0"/>
                      </a:lnTo>
                      <a:lnTo>
                        <a:pt x="28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6" y="4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71" name="Freeform 915">
                  <a:extLst>
                    <a:ext uri="{FF2B5EF4-FFF2-40B4-BE49-F238E27FC236}">
                      <a16:creationId xmlns:a16="http://schemas.microsoft.com/office/drawing/2014/main" id="{B2251593-9E47-2A06-D0C5-81A0F8BD1626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805962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72" name="Freeform 916">
                  <a:extLst>
                    <a:ext uri="{FF2B5EF4-FFF2-40B4-BE49-F238E27FC236}">
                      <a16:creationId xmlns:a16="http://schemas.microsoft.com/office/drawing/2014/main" id="{C4AB291F-3916-58BF-F200-8F2D5E763BF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893858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0 w 36"/>
                    <a:gd name="T17" fmla="*/ 55 h 55"/>
                    <a:gd name="T18" fmla="*/ 10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0" y="55"/>
                      </a:lnTo>
                      <a:lnTo>
                        <a:pt x="10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73" name="Freeform 917">
                  <a:extLst>
                    <a:ext uri="{FF2B5EF4-FFF2-40B4-BE49-F238E27FC236}">
                      <a16:creationId xmlns:a16="http://schemas.microsoft.com/office/drawing/2014/main" id="{D5403AE7-1B9D-2B2B-D29F-13E33A9D160B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978164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8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8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3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8" y="16"/>
                      </a:moveTo>
                      <a:cubicBezTo>
                        <a:pt x="8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8" y="9"/>
                        <a:pt x="8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74" name="Freeform 918">
                  <a:extLst>
                    <a:ext uri="{FF2B5EF4-FFF2-40B4-BE49-F238E27FC236}">
                      <a16:creationId xmlns:a16="http://schemas.microsoft.com/office/drawing/2014/main" id="{D7E1C1F9-3136-388F-B83B-95305D8A4E52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064265" y="3282246"/>
                  <a:ext cx="38566" cy="51123"/>
                </a:xfrm>
                <a:custGeom>
                  <a:avLst/>
                  <a:gdLst>
                    <a:gd name="T0" fmla="*/ 24 w 25"/>
                    <a:gd name="T1" fmla="*/ 6 h 33"/>
                    <a:gd name="T2" fmla="*/ 25 w 25"/>
                    <a:gd name="T3" fmla="*/ 17 h 33"/>
                    <a:gd name="T4" fmla="*/ 23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4 w 25"/>
                    <a:gd name="T15" fmla="*/ 6 h 33"/>
                    <a:gd name="T16" fmla="*/ 8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8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4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5" y="26"/>
                        <a:pt x="23" y="29"/>
                      </a:cubicBezTo>
                      <a:cubicBezTo>
                        <a:pt x="21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5" y="0"/>
                        <a:pt x="13" y="0"/>
                      </a:cubicBezTo>
                      <a:cubicBezTo>
                        <a:pt x="18" y="0"/>
                        <a:pt x="22" y="2"/>
                        <a:pt x="24" y="6"/>
                      </a:cubicBezTo>
                      <a:close/>
                      <a:moveTo>
                        <a:pt x="8" y="16"/>
                      </a:moveTo>
                      <a:cubicBezTo>
                        <a:pt x="8" y="24"/>
                        <a:pt x="9" y="28"/>
                        <a:pt x="13" y="28"/>
                      </a:cubicBezTo>
                      <a:cubicBezTo>
                        <a:pt x="17" y="28"/>
                        <a:pt x="18" y="24"/>
                        <a:pt x="18" y="17"/>
                      </a:cubicBezTo>
                      <a:cubicBezTo>
                        <a:pt x="18" y="9"/>
                        <a:pt x="17" y="6"/>
                        <a:pt x="13" y="6"/>
                      </a:cubicBezTo>
                      <a:cubicBezTo>
                        <a:pt x="9" y="6"/>
                        <a:pt x="8" y="9"/>
                        <a:pt x="8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75" name="Freeform 919">
                  <a:extLst>
                    <a:ext uri="{FF2B5EF4-FFF2-40B4-BE49-F238E27FC236}">
                      <a16:creationId xmlns:a16="http://schemas.microsoft.com/office/drawing/2014/main" id="{BA473FA8-7164-CB40-4144-309ECAFC4A99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152160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7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6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8" y="28"/>
                        <a:pt x="12" y="28"/>
                      </a:cubicBezTo>
                      <a:cubicBezTo>
                        <a:pt x="16" y="28"/>
                        <a:pt x="17" y="24"/>
                        <a:pt x="17" y="17"/>
                      </a:cubicBezTo>
                      <a:cubicBezTo>
                        <a:pt x="17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76" name="Freeform 920">
                  <a:extLst>
                    <a:ext uri="{FF2B5EF4-FFF2-40B4-BE49-F238E27FC236}">
                      <a16:creationId xmlns:a16="http://schemas.microsoft.com/office/drawing/2014/main" id="{95B0AE1D-F10E-36DD-25AE-5DDE76FE9D87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238261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2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2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2 w 25"/>
                    <a:gd name="T19" fmla="*/ 28 h 33"/>
                    <a:gd name="T20" fmla="*/ 18 w 25"/>
                    <a:gd name="T21" fmla="*/ 17 h 33"/>
                    <a:gd name="T22" fmla="*/ 12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2" y="33"/>
                      </a:cubicBezTo>
                      <a:cubicBezTo>
                        <a:pt x="7" y="33"/>
                        <a:pt x="4" y="31"/>
                        <a:pt x="2" y="27"/>
                      </a:cubicBezTo>
                      <a:cubicBezTo>
                        <a:pt x="0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2" y="0"/>
                      </a:cubicBezTo>
                      <a:cubicBezTo>
                        <a:pt x="17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2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2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77" name="Freeform 921">
                  <a:extLst>
                    <a:ext uri="{FF2B5EF4-FFF2-40B4-BE49-F238E27FC236}">
                      <a16:creationId xmlns:a16="http://schemas.microsoft.com/office/drawing/2014/main" id="{51FC34C6-AE3D-C026-76E2-F6D3222E386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326157" y="3284040"/>
                  <a:ext cx="32287" cy="49329"/>
                </a:xfrm>
                <a:custGeom>
                  <a:avLst/>
                  <a:gdLst>
                    <a:gd name="T0" fmla="*/ 16 w 36"/>
                    <a:gd name="T1" fmla="*/ 12 h 55"/>
                    <a:gd name="T2" fmla="*/ 5 w 36"/>
                    <a:gd name="T3" fmla="*/ 18 h 55"/>
                    <a:gd name="T4" fmla="*/ 0 w 36"/>
                    <a:gd name="T5" fmla="*/ 10 h 55"/>
                    <a:gd name="T6" fmla="*/ 17 w 36"/>
                    <a:gd name="T7" fmla="*/ 0 h 55"/>
                    <a:gd name="T8" fmla="*/ 28 w 36"/>
                    <a:gd name="T9" fmla="*/ 0 h 55"/>
                    <a:gd name="T10" fmla="*/ 28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9 w 36"/>
                    <a:gd name="T17" fmla="*/ 55 h 55"/>
                    <a:gd name="T18" fmla="*/ 9 w 36"/>
                    <a:gd name="T19" fmla="*/ 46 h 55"/>
                    <a:gd name="T20" fmla="*/ 16 w 36"/>
                    <a:gd name="T21" fmla="*/ 44 h 55"/>
                    <a:gd name="T22" fmla="*/ 16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6" y="12"/>
                      </a:moveTo>
                      <a:lnTo>
                        <a:pt x="5" y="18"/>
                      </a:lnTo>
                      <a:lnTo>
                        <a:pt x="0" y="10"/>
                      </a:lnTo>
                      <a:lnTo>
                        <a:pt x="17" y="0"/>
                      </a:lnTo>
                      <a:lnTo>
                        <a:pt x="28" y="0"/>
                      </a:lnTo>
                      <a:lnTo>
                        <a:pt x="28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9" y="55"/>
                      </a:lnTo>
                      <a:lnTo>
                        <a:pt x="9" y="46"/>
                      </a:lnTo>
                      <a:lnTo>
                        <a:pt x="16" y="44"/>
                      </a:lnTo>
                      <a:lnTo>
                        <a:pt x="16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78" name="Freeform 922">
                  <a:extLst>
                    <a:ext uri="{FF2B5EF4-FFF2-40B4-BE49-F238E27FC236}">
                      <a16:creationId xmlns:a16="http://schemas.microsoft.com/office/drawing/2014/main" id="{60D6C7DC-B76B-F83E-5DB1-D00C7D7810AB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411361" y="3282246"/>
                  <a:ext cx="37669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4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79" name="Freeform 923">
                  <a:extLst>
                    <a:ext uri="{FF2B5EF4-FFF2-40B4-BE49-F238E27FC236}">
                      <a16:creationId xmlns:a16="http://schemas.microsoft.com/office/drawing/2014/main" id="{9DE2DBB2-6A61-4C1A-27C1-5A8C6359482D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497461" y="3282246"/>
                  <a:ext cx="38566" cy="51123"/>
                </a:xfrm>
                <a:custGeom>
                  <a:avLst/>
                  <a:gdLst>
                    <a:gd name="T0" fmla="*/ 23 w 25"/>
                    <a:gd name="T1" fmla="*/ 6 h 33"/>
                    <a:gd name="T2" fmla="*/ 25 w 25"/>
                    <a:gd name="T3" fmla="*/ 17 h 33"/>
                    <a:gd name="T4" fmla="*/ 22 w 25"/>
                    <a:gd name="T5" fmla="*/ 29 h 33"/>
                    <a:gd name="T6" fmla="*/ 13 w 25"/>
                    <a:gd name="T7" fmla="*/ 33 h 33"/>
                    <a:gd name="T8" fmla="*/ 2 w 25"/>
                    <a:gd name="T9" fmla="*/ 27 h 33"/>
                    <a:gd name="T10" fmla="*/ 0 w 25"/>
                    <a:gd name="T11" fmla="*/ 16 h 33"/>
                    <a:gd name="T12" fmla="*/ 13 w 25"/>
                    <a:gd name="T13" fmla="*/ 0 h 33"/>
                    <a:gd name="T14" fmla="*/ 23 w 25"/>
                    <a:gd name="T15" fmla="*/ 6 h 33"/>
                    <a:gd name="T16" fmla="*/ 7 w 25"/>
                    <a:gd name="T17" fmla="*/ 16 h 33"/>
                    <a:gd name="T18" fmla="*/ 13 w 25"/>
                    <a:gd name="T19" fmla="*/ 28 h 33"/>
                    <a:gd name="T20" fmla="*/ 18 w 25"/>
                    <a:gd name="T21" fmla="*/ 17 h 33"/>
                    <a:gd name="T22" fmla="*/ 13 w 25"/>
                    <a:gd name="T23" fmla="*/ 6 h 33"/>
                    <a:gd name="T24" fmla="*/ 7 w 25"/>
                    <a:gd name="T25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3">
                      <a:moveTo>
                        <a:pt x="23" y="6"/>
                      </a:moveTo>
                      <a:cubicBezTo>
                        <a:pt x="25" y="8"/>
                        <a:pt x="25" y="12"/>
                        <a:pt x="25" y="17"/>
                      </a:cubicBezTo>
                      <a:cubicBezTo>
                        <a:pt x="25" y="22"/>
                        <a:pt x="24" y="26"/>
                        <a:pt x="22" y="29"/>
                      </a:cubicBezTo>
                      <a:cubicBezTo>
                        <a:pt x="20" y="32"/>
                        <a:pt x="17" y="33"/>
                        <a:pt x="13" y="33"/>
                      </a:cubicBezTo>
                      <a:cubicBezTo>
                        <a:pt x="8" y="33"/>
                        <a:pt x="4" y="31"/>
                        <a:pt x="2" y="27"/>
                      </a:cubicBezTo>
                      <a:cubicBezTo>
                        <a:pt x="1" y="25"/>
                        <a:pt x="0" y="21"/>
                        <a:pt x="0" y="16"/>
                      </a:cubicBezTo>
                      <a:cubicBezTo>
                        <a:pt x="0" y="5"/>
                        <a:pt x="4" y="0"/>
                        <a:pt x="13" y="0"/>
                      </a:cubicBezTo>
                      <a:cubicBezTo>
                        <a:pt x="18" y="0"/>
                        <a:pt x="21" y="2"/>
                        <a:pt x="23" y="6"/>
                      </a:cubicBezTo>
                      <a:close/>
                      <a:moveTo>
                        <a:pt x="7" y="16"/>
                      </a:moveTo>
                      <a:cubicBezTo>
                        <a:pt x="7" y="24"/>
                        <a:pt x="9" y="28"/>
                        <a:pt x="13" y="28"/>
                      </a:cubicBezTo>
                      <a:cubicBezTo>
                        <a:pt x="16" y="28"/>
                        <a:pt x="18" y="24"/>
                        <a:pt x="18" y="17"/>
                      </a:cubicBezTo>
                      <a:cubicBezTo>
                        <a:pt x="18" y="9"/>
                        <a:pt x="16" y="6"/>
                        <a:pt x="13" y="6"/>
                      </a:cubicBezTo>
                      <a:cubicBezTo>
                        <a:pt x="9" y="6"/>
                        <a:pt x="7" y="9"/>
                        <a:pt x="7" y="16"/>
                      </a:cubicBez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  <p:sp>
              <p:nvSpPr>
                <p:cNvPr id="180" name="Freeform 924">
                  <a:extLst>
                    <a:ext uri="{FF2B5EF4-FFF2-40B4-BE49-F238E27FC236}">
                      <a16:creationId xmlns:a16="http://schemas.microsoft.com/office/drawing/2014/main" id="{B0802ABB-1CA4-3926-80BD-6AB035EBF71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585357" y="3284040"/>
                  <a:ext cx="32287" cy="49329"/>
                </a:xfrm>
                <a:custGeom>
                  <a:avLst/>
                  <a:gdLst>
                    <a:gd name="T0" fmla="*/ 17 w 36"/>
                    <a:gd name="T1" fmla="*/ 12 h 55"/>
                    <a:gd name="T2" fmla="*/ 6 w 36"/>
                    <a:gd name="T3" fmla="*/ 18 h 55"/>
                    <a:gd name="T4" fmla="*/ 0 w 36"/>
                    <a:gd name="T5" fmla="*/ 10 h 55"/>
                    <a:gd name="T6" fmla="*/ 18 w 36"/>
                    <a:gd name="T7" fmla="*/ 0 h 55"/>
                    <a:gd name="T8" fmla="*/ 29 w 36"/>
                    <a:gd name="T9" fmla="*/ 0 h 55"/>
                    <a:gd name="T10" fmla="*/ 29 w 36"/>
                    <a:gd name="T11" fmla="*/ 44 h 55"/>
                    <a:gd name="T12" fmla="*/ 36 w 36"/>
                    <a:gd name="T13" fmla="*/ 46 h 55"/>
                    <a:gd name="T14" fmla="*/ 36 w 36"/>
                    <a:gd name="T15" fmla="*/ 55 h 55"/>
                    <a:gd name="T16" fmla="*/ 10 w 36"/>
                    <a:gd name="T17" fmla="*/ 55 h 55"/>
                    <a:gd name="T18" fmla="*/ 10 w 36"/>
                    <a:gd name="T19" fmla="*/ 46 h 55"/>
                    <a:gd name="T20" fmla="*/ 17 w 36"/>
                    <a:gd name="T21" fmla="*/ 44 h 55"/>
                    <a:gd name="T22" fmla="*/ 17 w 36"/>
                    <a:gd name="T23" fmla="*/ 1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6" h="55">
                      <a:moveTo>
                        <a:pt x="17" y="12"/>
                      </a:moveTo>
                      <a:lnTo>
                        <a:pt x="6" y="18"/>
                      </a:lnTo>
                      <a:lnTo>
                        <a:pt x="0" y="10"/>
                      </a:lnTo>
                      <a:lnTo>
                        <a:pt x="18" y="0"/>
                      </a:lnTo>
                      <a:lnTo>
                        <a:pt x="29" y="0"/>
                      </a:lnTo>
                      <a:lnTo>
                        <a:pt x="29" y="44"/>
                      </a:lnTo>
                      <a:lnTo>
                        <a:pt x="36" y="46"/>
                      </a:lnTo>
                      <a:lnTo>
                        <a:pt x="36" y="55"/>
                      </a:lnTo>
                      <a:lnTo>
                        <a:pt x="10" y="55"/>
                      </a:lnTo>
                      <a:lnTo>
                        <a:pt x="10" y="46"/>
                      </a:lnTo>
                      <a:lnTo>
                        <a:pt x="17" y="44"/>
                      </a:lnTo>
                      <a:lnTo>
                        <a:pt x="17" y="12"/>
                      </a:lnTo>
                      <a:close/>
                    </a:path>
                  </a:pathLst>
                </a:custGeom>
                <a:grpFill/>
                <a:ln w="9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lnSpc>
                      <a:spcPct val="110000"/>
                    </a:lnSpc>
                    <a:defRPr/>
                  </a:pPr>
                  <a:endParaRPr lang="pt-PT" sz="1400" kern="1400">
                    <a:solidFill>
                      <a:srgbClr val="000000"/>
                    </a:solidFill>
                    <a:latin typeface="Arial" charset="0"/>
                    <a:ea typeface="Arial Unicode MS"/>
                  </a:endParaRPr>
                </a:p>
              </p:txBody>
            </p:sp>
          </p:grpSp>
        </p:grpSp>
        <p:grpSp>
          <p:nvGrpSpPr>
            <p:cNvPr id="3" name="Agrupar 2">
              <a:extLst>
                <a:ext uri="{FF2B5EF4-FFF2-40B4-BE49-F238E27FC236}">
                  <a16:creationId xmlns:a16="http://schemas.microsoft.com/office/drawing/2014/main" id="{F40D7F37-AE7E-59AE-D07D-6E2795682ECA}"/>
                </a:ext>
              </a:extLst>
            </p:cNvPr>
            <p:cNvGrpSpPr/>
            <p:nvPr/>
          </p:nvGrpSpPr>
          <p:grpSpPr>
            <a:xfrm>
              <a:off x="10493318" y="6125585"/>
              <a:ext cx="1608947" cy="63298"/>
              <a:chOff x="10493318" y="6125585"/>
              <a:chExt cx="1608947" cy="63298"/>
            </a:xfrm>
          </p:grpSpPr>
          <p:sp>
            <p:nvSpPr>
              <p:cNvPr id="262" name="Freeform 886">
                <a:extLst>
                  <a:ext uri="{FF2B5EF4-FFF2-40B4-BE49-F238E27FC236}">
                    <a16:creationId xmlns:a16="http://schemas.microsoft.com/office/drawing/2014/main" id="{FC05D626-A79A-75F3-FEB4-20F7DD261E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93318" y="6127806"/>
                <a:ext cx="34668" cy="61077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63" name="Freeform 887">
                <a:extLst>
                  <a:ext uri="{FF2B5EF4-FFF2-40B4-BE49-F238E27FC236}">
                    <a16:creationId xmlns:a16="http://schemas.microsoft.com/office/drawing/2014/main" id="{179C3896-4A33-CBF9-C13A-8D9C4B26E47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0589160" y="6125585"/>
                <a:ext cx="43843" cy="63298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64" name="Freeform 888">
                <a:extLst>
                  <a:ext uri="{FF2B5EF4-FFF2-40B4-BE49-F238E27FC236}">
                    <a16:creationId xmlns:a16="http://schemas.microsoft.com/office/drawing/2014/main" id="{6D2F82EC-7910-0BE2-1589-2A1DADF8FD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89083" y="6127806"/>
                <a:ext cx="36705" cy="61077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30 w 36"/>
                  <a:gd name="T9" fmla="*/ 0 h 55"/>
                  <a:gd name="T10" fmla="*/ 30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30" y="0"/>
                    </a:lnTo>
                    <a:lnTo>
                      <a:pt x="30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65" name="Freeform 889">
                <a:extLst>
                  <a:ext uri="{FF2B5EF4-FFF2-40B4-BE49-F238E27FC236}">
                    <a16:creationId xmlns:a16="http://schemas.microsoft.com/office/drawing/2014/main" id="{60B6EEA4-79A2-127F-4CAF-BF9A3493A8F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0785945" y="6125585"/>
                <a:ext cx="43843" cy="63298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66" name="Freeform 890">
                <a:extLst>
                  <a:ext uri="{FF2B5EF4-FFF2-40B4-BE49-F238E27FC236}">
                    <a16:creationId xmlns:a16="http://schemas.microsoft.com/office/drawing/2014/main" id="{1655031B-7977-C20B-7969-32D2A4BAA0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885868" y="6127806"/>
                <a:ext cx="36705" cy="61077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67" name="Freeform 891">
                <a:extLst>
                  <a:ext uri="{FF2B5EF4-FFF2-40B4-BE49-F238E27FC236}">
                    <a16:creationId xmlns:a16="http://schemas.microsoft.com/office/drawing/2014/main" id="{5F80F179-5799-2F17-3B9C-9FBB155B836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0983750" y="6125585"/>
                <a:ext cx="43843" cy="63298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1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3" y="31"/>
                      <a:pt x="1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8" y="6"/>
                      <a:pt x="7" y="9"/>
                      <a:pt x="7" y="16"/>
                    </a:cubicBez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68" name="Freeform 892">
                <a:extLst>
                  <a:ext uri="{FF2B5EF4-FFF2-40B4-BE49-F238E27FC236}">
                    <a16:creationId xmlns:a16="http://schemas.microsoft.com/office/drawing/2014/main" id="{BAB29C63-22DD-C8B5-D0E4-F171ED4B56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083673" y="6127806"/>
                <a:ext cx="34668" cy="61077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8 w 34"/>
                  <a:gd name="T17" fmla="*/ 55 h 55"/>
                  <a:gd name="T18" fmla="*/ 8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69" name="Freeform 893">
                <a:extLst>
                  <a:ext uri="{FF2B5EF4-FFF2-40B4-BE49-F238E27FC236}">
                    <a16:creationId xmlns:a16="http://schemas.microsoft.com/office/drawing/2014/main" id="{F0A78AA5-3B86-6CD9-710B-92B5393686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181556" y="6127806"/>
                <a:ext cx="36705" cy="61077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70" name="Freeform 894">
                <a:extLst>
                  <a:ext uri="{FF2B5EF4-FFF2-40B4-BE49-F238E27FC236}">
                    <a16:creationId xmlns:a16="http://schemas.microsoft.com/office/drawing/2014/main" id="{5F2BAC24-B075-2D06-60D0-8B1C7FDD79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279439" y="6127806"/>
                <a:ext cx="36705" cy="61077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71" name="Freeform 895">
                <a:extLst>
                  <a:ext uri="{FF2B5EF4-FFF2-40B4-BE49-F238E27FC236}">
                    <a16:creationId xmlns:a16="http://schemas.microsoft.com/office/drawing/2014/main" id="{9A78A062-1D84-1178-1E08-38BD1449E9B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1375282" y="6125585"/>
                <a:ext cx="43843" cy="63298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72" name="Freeform 896">
                <a:extLst>
                  <a:ext uri="{FF2B5EF4-FFF2-40B4-BE49-F238E27FC236}">
                    <a16:creationId xmlns:a16="http://schemas.microsoft.com/office/drawing/2014/main" id="{B1B8CC16-913E-35CA-C3F1-EB8C63D46A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475205" y="6127806"/>
                <a:ext cx="36705" cy="61077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1 w 36"/>
                  <a:gd name="T17" fmla="*/ 55 h 55"/>
                  <a:gd name="T18" fmla="*/ 11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1" y="55"/>
                    </a:lnTo>
                    <a:lnTo>
                      <a:pt x="11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73" name="Freeform 897">
                <a:extLst>
                  <a:ext uri="{FF2B5EF4-FFF2-40B4-BE49-F238E27FC236}">
                    <a16:creationId xmlns:a16="http://schemas.microsoft.com/office/drawing/2014/main" id="{99043C3C-A897-0A9C-321E-9FFFE457CE5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1572067" y="6125585"/>
                <a:ext cx="43843" cy="63298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5" y="26"/>
                      <a:pt x="23" y="29"/>
                    </a:cubicBezTo>
                    <a:cubicBezTo>
                      <a:pt x="21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5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74" name="Freeform 898">
                <a:extLst>
                  <a:ext uri="{FF2B5EF4-FFF2-40B4-BE49-F238E27FC236}">
                    <a16:creationId xmlns:a16="http://schemas.microsoft.com/office/drawing/2014/main" id="{A29A8B4C-ED96-F599-EE91-A0C553B1E02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1671989" y="6125585"/>
                <a:ext cx="43843" cy="63298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1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3" y="31"/>
                      <a:pt x="1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8" y="6"/>
                      <a:pt x="7" y="9"/>
                      <a:pt x="7" y="16"/>
                    </a:cubicBez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75" name="Freeform 899">
                <a:extLst>
                  <a:ext uri="{FF2B5EF4-FFF2-40B4-BE49-F238E27FC236}">
                    <a16:creationId xmlns:a16="http://schemas.microsoft.com/office/drawing/2014/main" id="{369B3A6D-6C6A-B576-2A08-9FDEBE07BD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770893" y="6127806"/>
                <a:ext cx="35686" cy="61077"/>
              </a:xfrm>
              <a:custGeom>
                <a:avLst/>
                <a:gdLst>
                  <a:gd name="T0" fmla="*/ 16 w 35"/>
                  <a:gd name="T1" fmla="*/ 12 h 55"/>
                  <a:gd name="T2" fmla="*/ 6 w 35"/>
                  <a:gd name="T3" fmla="*/ 18 h 55"/>
                  <a:gd name="T4" fmla="*/ 0 w 35"/>
                  <a:gd name="T5" fmla="*/ 10 h 55"/>
                  <a:gd name="T6" fmla="*/ 18 w 35"/>
                  <a:gd name="T7" fmla="*/ 0 h 55"/>
                  <a:gd name="T8" fmla="*/ 28 w 35"/>
                  <a:gd name="T9" fmla="*/ 0 h 55"/>
                  <a:gd name="T10" fmla="*/ 28 w 35"/>
                  <a:gd name="T11" fmla="*/ 44 h 55"/>
                  <a:gd name="T12" fmla="*/ 35 w 35"/>
                  <a:gd name="T13" fmla="*/ 46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6 h 55"/>
                  <a:gd name="T20" fmla="*/ 16 w 35"/>
                  <a:gd name="T21" fmla="*/ 44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6" y="18"/>
                    </a:lnTo>
                    <a:lnTo>
                      <a:pt x="0" y="10"/>
                    </a:lnTo>
                    <a:lnTo>
                      <a:pt x="18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5" y="46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76" name="Freeform 900">
                <a:extLst>
                  <a:ext uri="{FF2B5EF4-FFF2-40B4-BE49-F238E27FC236}">
                    <a16:creationId xmlns:a16="http://schemas.microsoft.com/office/drawing/2014/main" id="{BAF485CA-FE44-02C0-07D9-AFC1C2C5A1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69795" y="6127806"/>
                <a:ext cx="36705" cy="61077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77" name="Freeform 901">
                <a:extLst>
                  <a:ext uri="{FF2B5EF4-FFF2-40B4-BE49-F238E27FC236}">
                    <a16:creationId xmlns:a16="http://schemas.microsoft.com/office/drawing/2014/main" id="{632571CE-C419-36BF-7E41-215B1718844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1965637" y="6125585"/>
                <a:ext cx="43843" cy="63298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78" name="Freeform 902">
                <a:extLst>
                  <a:ext uri="{FF2B5EF4-FFF2-40B4-BE49-F238E27FC236}">
                    <a16:creationId xmlns:a16="http://schemas.microsoft.com/office/drawing/2014/main" id="{60BA6FE6-35D2-3698-7960-3CA1664183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065560" y="6127806"/>
                <a:ext cx="36705" cy="61077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4BB9B9"/>
              </a:solidFill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>
                  <a:lnSpc>
                    <a:spcPct val="110000"/>
                  </a:lnSpc>
                  <a:defRPr/>
                </a:pPr>
                <a:endParaRPr lang="pt-PT" sz="1400" kern="140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</p:grpSp>
        <p:sp>
          <p:nvSpPr>
            <p:cNvPr id="223" name="Freeform 886">
              <a:extLst>
                <a:ext uri="{FF2B5EF4-FFF2-40B4-BE49-F238E27FC236}">
                  <a16:creationId xmlns:a16="http://schemas.microsoft.com/office/drawing/2014/main" id="{47428935-9120-BDF1-4FC5-17F7F119A7DC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40133" y="5976607"/>
              <a:ext cx="46622" cy="82136"/>
            </a:xfrm>
            <a:custGeom>
              <a:avLst/>
              <a:gdLst>
                <a:gd name="T0" fmla="*/ 15 w 34"/>
                <a:gd name="T1" fmla="*/ 12 h 55"/>
                <a:gd name="T2" fmla="*/ 5 w 34"/>
                <a:gd name="T3" fmla="*/ 18 h 55"/>
                <a:gd name="T4" fmla="*/ 0 w 34"/>
                <a:gd name="T5" fmla="*/ 10 h 55"/>
                <a:gd name="T6" fmla="*/ 17 w 34"/>
                <a:gd name="T7" fmla="*/ 0 h 55"/>
                <a:gd name="T8" fmla="*/ 27 w 34"/>
                <a:gd name="T9" fmla="*/ 0 h 55"/>
                <a:gd name="T10" fmla="*/ 27 w 34"/>
                <a:gd name="T11" fmla="*/ 44 h 55"/>
                <a:gd name="T12" fmla="*/ 34 w 34"/>
                <a:gd name="T13" fmla="*/ 46 h 55"/>
                <a:gd name="T14" fmla="*/ 34 w 34"/>
                <a:gd name="T15" fmla="*/ 55 h 55"/>
                <a:gd name="T16" fmla="*/ 9 w 34"/>
                <a:gd name="T17" fmla="*/ 55 h 55"/>
                <a:gd name="T18" fmla="*/ 9 w 34"/>
                <a:gd name="T19" fmla="*/ 46 h 55"/>
                <a:gd name="T20" fmla="*/ 15 w 34"/>
                <a:gd name="T21" fmla="*/ 44 h 55"/>
                <a:gd name="T22" fmla="*/ 15 w 34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55">
                  <a:moveTo>
                    <a:pt x="15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7" y="0"/>
                  </a:lnTo>
                  <a:lnTo>
                    <a:pt x="27" y="44"/>
                  </a:lnTo>
                  <a:lnTo>
                    <a:pt x="34" y="46"/>
                  </a:lnTo>
                  <a:lnTo>
                    <a:pt x="34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5" y="44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24" name="Freeform 887">
              <a:extLst>
                <a:ext uri="{FF2B5EF4-FFF2-40B4-BE49-F238E27FC236}">
                  <a16:creationId xmlns:a16="http://schemas.microsoft.com/office/drawing/2014/main" id="{403EC767-2DAF-3024-3A5A-0EFCCB769C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469023" y="5973620"/>
              <a:ext cx="58961" cy="85123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2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2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2 w 25"/>
                <a:gd name="T19" fmla="*/ 28 h 33"/>
                <a:gd name="T20" fmla="*/ 18 w 25"/>
                <a:gd name="T21" fmla="*/ 17 h 33"/>
                <a:gd name="T22" fmla="*/ 12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2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2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2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2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25" name="Freeform 888">
              <a:extLst>
                <a:ext uri="{FF2B5EF4-FFF2-40B4-BE49-F238E27FC236}">
                  <a16:creationId xmlns:a16="http://schemas.microsoft.com/office/drawing/2014/main" id="{D0BE7B1F-6D5E-5757-8666-476CBF2D94A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603401" y="5976607"/>
              <a:ext cx="49361" cy="82136"/>
            </a:xfrm>
            <a:custGeom>
              <a:avLst/>
              <a:gdLst>
                <a:gd name="T0" fmla="*/ 17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30 w 36"/>
                <a:gd name="T9" fmla="*/ 0 h 55"/>
                <a:gd name="T10" fmla="*/ 30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9 w 36"/>
                <a:gd name="T17" fmla="*/ 55 h 55"/>
                <a:gd name="T18" fmla="*/ 9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30" y="0"/>
                  </a:lnTo>
                  <a:lnTo>
                    <a:pt x="30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26" name="Freeform 889">
              <a:extLst>
                <a:ext uri="{FF2B5EF4-FFF2-40B4-BE49-F238E27FC236}">
                  <a16:creationId xmlns:a16="http://schemas.microsoft.com/office/drawing/2014/main" id="{BD9E8598-8314-6B70-3D4C-D7281DAAC2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733662" y="5973620"/>
              <a:ext cx="58961" cy="85123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5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27" name="Freeform 890">
              <a:extLst>
                <a:ext uri="{FF2B5EF4-FFF2-40B4-BE49-F238E27FC236}">
                  <a16:creationId xmlns:a16="http://schemas.microsoft.com/office/drawing/2014/main" id="{F4B4CD29-0B69-C84C-BB73-7D9178DB833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68041" y="5976607"/>
              <a:ext cx="49361" cy="82136"/>
            </a:xfrm>
            <a:custGeom>
              <a:avLst/>
              <a:gdLst>
                <a:gd name="T0" fmla="*/ 17 w 36"/>
                <a:gd name="T1" fmla="*/ 12 h 55"/>
                <a:gd name="T2" fmla="*/ 7 w 36"/>
                <a:gd name="T3" fmla="*/ 18 h 55"/>
                <a:gd name="T4" fmla="*/ 0 w 36"/>
                <a:gd name="T5" fmla="*/ 10 h 55"/>
                <a:gd name="T6" fmla="*/ 19 w 36"/>
                <a:gd name="T7" fmla="*/ 0 h 55"/>
                <a:gd name="T8" fmla="*/ 29 w 36"/>
                <a:gd name="T9" fmla="*/ 0 h 55"/>
                <a:gd name="T10" fmla="*/ 29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10 w 36"/>
                <a:gd name="T17" fmla="*/ 55 h 55"/>
                <a:gd name="T18" fmla="*/ 10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7" y="18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9" y="0"/>
                  </a:lnTo>
                  <a:lnTo>
                    <a:pt x="29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10" y="55"/>
                  </a:lnTo>
                  <a:lnTo>
                    <a:pt x="10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28" name="Freeform 891">
              <a:extLst>
                <a:ext uri="{FF2B5EF4-FFF2-40B4-BE49-F238E27FC236}">
                  <a16:creationId xmlns:a16="http://schemas.microsoft.com/office/drawing/2014/main" id="{007D0EED-C2AB-118C-02A1-C4CEA04012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999673" y="5973620"/>
              <a:ext cx="58961" cy="85123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2 w 25"/>
                <a:gd name="T7" fmla="*/ 33 h 33"/>
                <a:gd name="T8" fmla="*/ 1 w 25"/>
                <a:gd name="T9" fmla="*/ 27 h 33"/>
                <a:gd name="T10" fmla="*/ 0 w 25"/>
                <a:gd name="T11" fmla="*/ 16 h 33"/>
                <a:gd name="T12" fmla="*/ 12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2 w 25"/>
                <a:gd name="T19" fmla="*/ 28 h 33"/>
                <a:gd name="T20" fmla="*/ 17 w 25"/>
                <a:gd name="T21" fmla="*/ 17 h 33"/>
                <a:gd name="T22" fmla="*/ 12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6" y="33"/>
                    <a:pt x="12" y="33"/>
                  </a:cubicBezTo>
                  <a:cubicBezTo>
                    <a:pt x="7" y="33"/>
                    <a:pt x="3" y="31"/>
                    <a:pt x="1" y="27"/>
                  </a:cubicBezTo>
                  <a:cubicBezTo>
                    <a:pt x="0" y="25"/>
                    <a:pt x="0" y="21"/>
                    <a:pt x="0" y="16"/>
                  </a:cubicBezTo>
                  <a:cubicBezTo>
                    <a:pt x="0" y="5"/>
                    <a:pt x="4" y="0"/>
                    <a:pt x="12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8" y="28"/>
                    <a:pt x="12" y="28"/>
                  </a:cubicBezTo>
                  <a:cubicBezTo>
                    <a:pt x="16" y="28"/>
                    <a:pt x="17" y="24"/>
                    <a:pt x="17" y="17"/>
                  </a:cubicBezTo>
                  <a:cubicBezTo>
                    <a:pt x="17" y="9"/>
                    <a:pt x="16" y="6"/>
                    <a:pt x="12" y="6"/>
                  </a:cubicBezTo>
                  <a:cubicBezTo>
                    <a:pt x="8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29" name="Freeform 892">
              <a:extLst>
                <a:ext uri="{FF2B5EF4-FFF2-40B4-BE49-F238E27FC236}">
                  <a16:creationId xmlns:a16="http://schemas.microsoft.com/office/drawing/2014/main" id="{F545B3DC-886F-9DD4-0265-38921EA4820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34052" y="5976607"/>
              <a:ext cx="46622" cy="82136"/>
            </a:xfrm>
            <a:custGeom>
              <a:avLst/>
              <a:gdLst>
                <a:gd name="T0" fmla="*/ 15 w 34"/>
                <a:gd name="T1" fmla="*/ 12 h 55"/>
                <a:gd name="T2" fmla="*/ 5 w 34"/>
                <a:gd name="T3" fmla="*/ 18 h 55"/>
                <a:gd name="T4" fmla="*/ 0 w 34"/>
                <a:gd name="T5" fmla="*/ 10 h 55"/>
                <a:gd name="T6" fmla="*/ 17 w 34"/>
                <a:gd name="T7" fmla="*/ 0 h 55"/>
                <a:gd name="T8" fmla="*/ 27 w 34"/>
                <a:gd name="T9" fmla="*/ 0 h 55"/>
                <a:gd name="T10" fmla="*/ 27 w 34"/>
                <a:gd name="T11" fmla="*/ 44 h 55"/>
                <a:gd name="T12" fmla="*/ 34 w 34"/>
                <a:gd name="T13" fmla="*/ 46 h 55"/>
                <a:gd name="T14" fmla="*/ 34 w 34"/>
                <a:gd name="T15" fmla="*/ 55 h 55"/>
                <a:gd name="T16" fmla="*/ 8 w 34"/>
                <a:gd name="T17" fmla="*/ 55 h 55"/>
                <a:gd name="T18" fmla="*/ 8 w 34"/>
                <a:gd name="T19" fmla="*/ 46 h 55"/>
                <a:gd name="T20" fmla="*/ 15 w 34"/>
                <a:gd name="T21" fmla="*/ 44 h 55"/>
                <a:gd name="T22" fmla="*/ 15 w 34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55">
                  <a:moveTo>
                    <a:pt x="15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7" y="0"/>
                  </a:lnTo>
                  <a:lnTo>
                    <a:pt x="27" y="44"/>
                  </a:lnTo>
                  <a:lnTo>
                    <a:pt x="34" y="46"/>
                  </a:lnTo>
                  <a:lnTo>
                    <a:pt x="34" y="55"/>
                  </a:lnTo>
                  <a:lnTo>
                    <a:pt x="8" y="55"/>
                  </a:lnTo>
                  <a:lnTo>
                    <a:pt x="8" y="46"/>
                  </a:lnTo>
                  <a:lnTo>
                    <a:pt x="15" y="44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30" name="Freeform 893">
              <a:extLst>
                <a:ext uri="{FF2B5EF4-FFF2-40B4-BE49-F238E27FC236}">
                  <a16:creationId xmlns:a16="http://schemas.microsoft.com/office/drawing/2014/main" id="{493DE324-F092-35EE-D94C-7FA6E6CB317F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65686" y="5976607"/>
              <a:ext cx="49361" cy="82136"/>
            </a:xfrm>
            <a:custGeom>
              <a:avLst/>
              <a:gdLst>
                <a:gd name="T0" fmla="*/ 15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7 w 36"/>
                <a:gd name="T9" fmla="*/ 0 h 55"/>
                <a:gd name="T10" fmla="*/ 27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8 w 36"/>
                <a:gd name="T17" fmla="*/ 55 h 55"/>
                <a:gd name="T18" fmla="*/ 8 w 36"/>
                <a:gd name="T19" fmla="*/ 46 h 55"/>
                <a:gd name="T20" fmla="*/ 15 w 36"/>
                <a:gd name="T21" fmla="*/ 44 h 55"/>
                <a:gd name="T22" fmla="*/ 15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5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7" y="0"/>
                  </a:lnTo>
                  <a:lnTo>
                    <a:pt x="27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8" y="55"/>
                  </a:lnTo>
                  <a:lnTo>
                    <a:pt x="8" y="46"/>
                  </a:lnTo>
                  <a:lnTo>
                    <a:pt x="15" y="44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31" name="Freeform 894">
              <a:extLst>
                <a:ext uri="{FF2B5EF4-FFF2-40B4-BE49-F238E27FC236}">
                  <a16:creationId xmlns:a16="http://schemas.microsoft.com/office/drawing/2014/main" id="{F307A166-33C3-9040-DB5A-675FA068CF1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7320" y="5976607"/>
              <a:ext cx="49361" cy="82136"/>
            </a:xfrm>
            <a:custGeom>
              <a:avLst/>
              <a:gdLst>
                <a:gd name="T0" fmla="*/ 15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7 w 36"/>
                <a:gd name="T9" fmla="*/ 0 h 55"/>
                <a:gd name="T10" fmla="*/ 27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9 w 36"/>
                <a:gd name="T17" fmla="*/ 55 h 55"/>
                <a:gd name="T18" fmla="*/ 9 w 36"/>
                <a:gd name="T19" fmla="*/ 46 h 55"/>
                <a:gd name="T20" fmla="*/ 15 w 36"/>
                <a:gd name="T21" fmla="*/ 44 h 55"/>
                <a:gd name="T22" fmla="*/ 15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5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7" y="0"/>
                  </a:lnTo>
                  <a:lnTo>
                    <a:pt x="27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5" y="44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32" name="Freeform 895">
              <a:extLst>
                <a:ext uri="{FF2B5EF4-FFF2-40B4-BE49-F238E27FC236}">
                  <a16:creationId xmlns:a16="http://schemas.microsoft.com/office/drawing/2014/main" id="{BAD3450A-E821-F175-4ADE-5D52FB2FF3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526211" y="5973620"/>
              <a:ext cx="58961" cy="85123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33" name="Freeform 896">
              <a:extLst>
                <a:ext uri="{FF2B5EF4-FFF2-40B4-BE49-F238E27FC236}">
                  <a16:creationId xmlns:a16="http://schemas.microsoft.com/office/drawing/2014/main" id="{910D342C-FEAC-3684-1819-873F66BF1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660590" y="5976607"/>
              <a:ext cx="49361" cy="82136"/>
            </a:xfrm>
            <a:custGeom>
              <a:avLst/>
              <a:gdLst>
                <a:gd name="T0" fmla="*/ 17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9 w 36"/>
                <a:gd name="T9" fmla="*/ 0 h 55"/>
                <a:gd name="T10" fmla="*/ 29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11 w 36"/>
                <a:gd name="T17" fmla="*/ 55 h 55"/>
                <a:gd name="T18" fmla="*/ 11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9" y="0"/>
                  </a:lnTo>
                  <a:lnTo>
                    <a:pt x="29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11" y="55"/>
                  </a:lnTo>
                  <a:lnTo>
                    <a:pt x="11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34" name="Freeform 897">
              <a:extLst>
                <a:ext uri="{FF2B5EF4-FFF2-40B4-BE49-F238E27FC236}">
                  <a16:creationId xmlns:a16="http://schemas.microsoft.com/office/drawing/2014/main" id="{18F21CD3-1FA5-0428-4B6E-911491F7BF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790851" y="5973620"/>
              <a:ext cx="58961" cy="85123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3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8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8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5" y="8"/>
                    <a:pt x="25" y="12"/>
                    <a:pt x="25" y="17"/>
                  </a:cubicBezTo>
                  <a:cubicBezTo>
                    <a:pt x="25" y="22"/>
                    <a:pt x="25" y="26"/>
                    <a:pt x="23" y="29"/>
                  </a:cubicBezTo>
                  <a:cubicBezTo>
                    <a:pt x="21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5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8" y="16"/>
                  </a:moveTo>
                  <a:cubicBezTo>
                    <a:pt x="8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8" y="9"/>
                    <a:pt x="8" y="16"/>
                  </a:cubicBez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35" name="Freeform 898">
              <a:extLst>
                <a:ext uri="{FF2B5EF4-FFF2-40B4-BE49-F238E27FC236}">
                  <a16:creationId xmlns:a16="http://schemas.microsoft.com/office/drawing/2014/main" id="{200A971B-3439-9F06-DED0-255ECABA1A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925228" y="5973620"/>
              <a:ext cx="58961" cy="85123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2 w 25"/>
                <a:gd name="T7" fmla="*/ 33 h 33"/>
                <a:gd name="T8" fmla="*/ 1 w 25"/>
                <a:gd name="T9" fmla="*/ 27 h 33"/>
                <a:gd name="T10" fmla="*/ 0 w 25"/>
                <a:gd name="T11" fmla="*/ 16 h 33"/>
                <a:gd name="T12" fmla="*/ 12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2 w 25"/>
                <a:gd name="T19" fmla="*/ 28 h 33"/>
                <a:gd name="T20" fmla="*/ 17 w 25"/>
                <a:gd name="T21" fmla="*/ 17 h 33"/>
                <a:gd name="T22" fmla="*/ 12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6" y="33"/>
                    <a:pt x="12" y="33"/>
                  </a:cubicBezTo>
                  <a:cubicBezTo>
                    <a:pt x="7" y="33"/>
                    <a:pt x="3" y="31"/>
                    <a:pt x="1" y="27"/>
                  </a:cubicBezTo>
                  <a:cubicBezTo>
                    <a:pt x="0" y="25"/>
                    <a:pt x="0" y="21"/>
                    <a:pt x="0" y="16"/>
                  </a:cubicBezTo>
                  <a:cubicBezTo>
                    <a:pt x="0" y="5"/>
                    <a:pt x="4" y="0"/>
                    <a:pt x="12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8" y="28"/>
                    <a:pt x="12" y="28"/>
                  </a:cubicBezTo>
                  <a:cubicBezTo>
                    <a:pt x="16" y="28"/>
                    <a:pt x="17" y="24"/>
                    <a:pt x="17" y="17"/>
                  </a:cubicBezTo>
                  <a:cubicBezTo>
                    <a:pt x="17" y="9"/>
                    <a:pt x="16" y="6"/>
                    <a:pt x="12" y="6"/>
                  </a:cubicBezTo>
                  <a:cubicBezTo>
                    <a:pt x="8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36" name="Freeform 899">
              <a:extLst>
                <a:ext uri="{FF2B5EF4-FFF2-40B4-BE49-F238E27FC236}">
                  <a16:creationId xmlns:a16="http://schemas.microsoft.com/office/drawing/2014/main" id="{3CE8C396-A14B-0402-D063-9B272F38597F}"/>
                </a:ext>
              </a:extLst>
            </p:cNvPr>
            <p:cNvSpPr>
              <a:spLocks/>
            </p:cNvSpPr>
            <p:nvPr/>
          </p:nvSpPr>
          <p:spPr bwMode="gray">
            <a:xfrm>
              <a:off x="12058235" y="5976607"/>
              <a:ext cx="47992" cy="82136"/>
            </a:xfrm>
            <a:custGeom>
              <a:avLst/>
              <a:gdLst>
                <a:gd name="T0" fmla="*/ 16 w 35"/>
                <a:gd name="T1" fmla="*/ 12 h 55"/>
                <a:gd name="T2" fmla="*/ 6 w 35"/>
                <a:gd name="T3" fmla="*/ 18 h 55"/>
                <a:gd name="T4" fmla="*/ 0 w 35"/>
                <a:gd name="T5" fmla="*/ 10 h 55"/>
                <a:gd name="T6" fmla="*/ 18 w 35"/>
                <a:gd name="T7" fmla="*/ 0 h 55"/>
                <a:gd name="T8" fmla="*/ 28 w 35"/>
                <a:gd name="T9" fmla="*/ 0 h 55"/>
                <a:gd name="T10" fmla="*/ 28 w 35"/>
                <a:gd name="T11" fmla="*/ 44 h 55"/>
                <a:gd name="T12" fmla="*/ 35 w 35"/>
                <a:gd name="T13" fmla="*/ 46 h 55"/>
                <a:gd name="T14" fmla="*/ 35 w 35"/>
                <a:gd name="T15" fmla="*/ 55 h 55"/>
                <a:gd name="T16" fmla="*/ 9 w 35"/>
                <a:gd name="T17" fmla="*/ 55 h 55"/>
                <a:gd name="T18" fmla="*/ 9 w 35"/>
                <a:gd name="T19" fmla="*/ 46 h 55"/>
                <a:gd name="T20" fmla="*/ 16 w 35"/>
                <a:gd name="T21" fmla="*/ 44 h 55"/>
                <a:gd name="T22" fmla="*/ 16 w 35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55">
                  <a:moveTo>
                    <a:pt x="16" y="12"/>
                  </a:moveTo>
                  <a:lnTo>
                    <a:pt x="6" y="18"/>
                  </a:lnTo>
                  <a:lnTo>
                    <a:pt x="0" y="10"/>
                  </a:lnTo>
                  <a:lnTo>
                    <a:pt x="18" y="0"/>
                  </a:lnTo>
                  <a:lnTo>
                    <a:pt x="28" y="0"/>
                  </a:lnTo>
                  <a:lnTo>
                    <a:pt x="28" y="44"/>
                  </a:lnTo>
                  <a:lnTo>
                    <a:pt x="35" y="46"/>
                  </a:lnTo>
                  <a:lnTo>
                    <a:pt x="35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6" y="44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18" name="Freeform 886">
              <a:extLst>
                <a:ext uri="{FF2B5EF4-FFF2-40B4-BE49-F238E27FC236}">
                  <a16:creationId xmlns:a16="http://schemas.microsoft.com/office/drawing/2014/main" id="{0812D2EE-CD9A-B0A0-BDCA-88A4DA7592F4}"/>
                </a:ext>
              </a:extLst>
            </p:cNvPr>
            <p:cNvSpPr>
              <a:spLocks/>
            </p:cNvSpPr>
            <p:nvPr/>
          </p:nvSpPr>
          <p:spPr bwMode="gray">
            <a:xfrm>
              <a:off x="9128683" y="6140739"/>
              <a:ext cx="34668" cy="61077"/>
            </a:xfrm>
            <a:custGeom>
              <a:avLst/>
              <a:gdLst>
                <a:gd name="T0" fmla="*/ 15 w 34"/>
                <a:gd name="T1" fmla="*/ 12 h 55"/>
                <a:gd name="T2" fmla="*/ 5 w 34"/>
                <a:gd name="T3" fmla="*/ 18 h 55"/>
                <a:gd name="T4" fmla="*/ 0 w 34"/>
                <a:gd name="T5" fmla="*/ 10 h 55"/>
                <a:gd name="T6" fmla="*/ 17 w 34"/>
                <a:gd name="T7" fmla="*/ 0 h 55"/>
                <a:gd name="T8" fmla="*/ 27 w 34"/>
                <a:gd name="T9" fmla="*/ 0 h 55"/>
                <a:gd name="T10" fmla="*/ 27 w 34"/>
                <a:gd name="T11" fmla="*/ 44 h 55"/>
                <a:gd name="T12" fmla="*/ 34 w 34"/>
                <a:gd name="T13" fmla="*/ 46 h 55"/>
                <a:gd name="T14" fmla="*/ 34 w 34"/>
                <a:gd name="T15" fmla="*/ 55 h 55"/>
                <a:gd name="T16" fmla="*/ 9 w 34"/>
                <a:gd name="T17" fmla="*/ 55 h 55"/>
                <a:gd name="T18" fmla="*/ 9 w 34"/>
                <a:gd name="T19" fmla="*/ 46 h 55"/>
                <a:gd name="T20" fmla="*/ 15 w 34"/>
                <a:gd name="T21" fmla="*/ 44 h 55"/>
                <a:gd name="T22" fmla="*/ 15 w 34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55">
                  <a:moveTo>
                    <a:pt x="15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7" y="0"/>
                  </a:lnTo>
                  <a:lnTo>
                    <a:pt x="27" y="44"/>
                  </a:lnTo>
                  <a:lnTo>
                    <a:pt x="34" y="46"/>
                  </a:lnTo>
                  <a:lnTo>
                    <a:pt x="34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5" y="44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19" name="Freeform 887">
              <a:extLst>
                <a:ext uri="{FF2B5EF4-FFF2-40B4-BE49-F238E27FC236}">
                  <a16:creationId xmlns:a16="http://schemas.microsoft.com/office/drawing/2014/main" id="{466C60F3-7C26-7FA8-692B-3EDD62053BF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24525" y="6138518"/>
              <a:ext cx="43843" cy="6329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2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2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2 w 25"/>
                <a:gd name="T19" fmla="*/ 28 h 33"/>
                <a:gd name="T20" fmla="*/ 18 w 25"/>
                <a:gd name="T21" fmla="*/ 17 h 33"/>
                <a:gd name="T22" fmla="*/ 12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2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2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2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2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20" name="Freeform 888">
              <a:extLst>
                <a:ext uri="{FF2B5EF4-FFF2-40B4-BE49-F238E27FC236}">
                  <a16:creationId xmlns:a16="http://schemas.microsoft.com/office/drawing/2014/main" id="{D4CD127F-98E4-3554-62DA-DB8CB2706160}"/>
                </a:ext>
              </a:extLst>
            </p:cNvPr>
            <p:cNvSpPr>
              <a:spLocks/>
            </p:cNvSpPr>
            <p:nvPr/>
          </p:nvSpPr>
          <p:spPr bwMode="gray">
            <a:xfrm>
              <a:off x="9324448" y="6140739"/>
              <a:ext cx="36705" cy="61077"/>
            </a:xfrm>
            <a:custGeom>
              <a:avLst/>
              <a:gdLst>
                <a:gd name="T0" fmla="*/ 17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30 w 36"/>
                <a:gd name="T9" fmla="*/ 0 h 55"/>
                <a:gd name="T10" fmla="*/ 30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9 w 36"/>
                <a:gd name="T17" fmla="*/ 55 h 55"/>
                <a:gd name="T18" fmla="*/ 9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30" y="0"/>
                  </a:lnTo>
                  <a:lnTo>
                    <a:pt x="30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21" name="Freeform 889">
              <a:extLst>
                <a:ext uri="{FF2B5EF4-FFF2-40B4-BE49-F238E27FC236}">
                  <a16:creationId xmlns:a16="http://schemas.microsoft.com/office/drawing/2014/main" id="{2396D00F-C03E-9410-B860-4256ACDBD23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21310" y="6138518"/>
              <a:ext cx="43843" cy="6329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5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22" name="Freeform 890">
              <a:extLst>
                <a:ext uri="{FF2B5EF4-FFF2-40B4-BE49-F238E27FC236}">
                  <a16:creationId xmlns:a16="http://schemas.microsoft.com/office/drawing/2014/main" id="{B15FB444-D8D9-2F59-70D3-0E46DED5D4C4}"/>
                </a:ext>
              </a:extLst>
            </p:cNvPr>
            <p:cNvSpPr>
              <a:spLocks/>
            </p:cNvSpPr>
            <p:nvPr/>
          </p:nvSpPr>
          <p:spPr bwMode="gray">
            <a:xfrm>
              <a:off x="9521233" y="6140739"/>
              <a:ext cx="36705" cy="61077"/>
            </a:xfrm>
            <a:custGeom>
              <a:avLst/>
              <a:gdLst>
                <a:gd name="T0" fmla="*/ 17 w 36"/>
                <a:gd name="T1" fmla="*/ 12 h 55"/>
                <a:gd name="T2" fmla="*/ 7 w 36"/>
                <a:gd name="T3" fmla="*/ 18 h 55"/>
                <a:gd name="T4" fmla="*/ 0 w 36"/>
                <a:gd name="T5" fmla="*/ 10 h 55"/>
                <a:gd name="T6" fmla="*/ 19 w 36"/>
                <a:gd name="T7" fmla="*/ 0 h 55"/>
                <a:gd name="T8" fmla="*/ 29 w 36"/>
                <a:gd name="T9" fmla="*/ 0 h 55"/>
                <a:gd name="T10" fmla="*/ 29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10 w 36"/>
                <a:gd name="T17" fmla="*/ 55 h 55"/>
                <a:gd name="T18" fmla="*/ 10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7" y="18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9" y="0"/>
                  </a:lnTo>
                  <a:lnTo>
                    <a:pt x="29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10" y="55"/>
                  </a:lnTo>
                  <a:lnTo>
                    <a:pt x="10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23" name="Freeform 891">
              <a:extLst>
                <a:ext uri="{FF2B5EF4-FFF2-40B4-BE49-F238E27FC236}">
                  <a16:creationId xmlns:a16="http://schemas.microsoft.com/office/drawing/2014/main" id="{75DAAC76-CA6C-CDA4-D7F6-1BBA13CBD17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619115" y="6138518"/>
              <a:ext cx="43843" cy="6329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2 w 25"/>
                <a:gd name="T7" fmla="*/ 33 h 33"/>
                <a:gd name="T8" fmla="*/ 1 w 25"/>
                <a:gd name="T9" fmla="*/ 27 h 33"/>
                <a:gd name="T10" fmla="*/ 0 w 25"/>
                <a:gd name="T11" fmla="*/ 16 h 33"/>
                <a:gd name="T12" fmla="*/ 12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2 w 25"/>
                <a:gd name="T19" fmla="*/ 28 h 33"/>
                <a:gd name="T20" fmla="*/ 17 w 25"/>
                <a:gd name="T21" fmla="*/ 17 h 33"/>
                <a:gd name="T22" fmla="*/ 12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6" y="33"/>
                    <a:pt x="12" y="33"/>
                  </a:cubicBezTo>
                  <a:cubicBezTo>
                    <a:pt x="7" y="33"/>
                    <a:pt x="3" y="31"/>
                    <a:pt x="1" y="27"/>
                  </a:cubicBezTo>
                  <a:cubicBezTo>
                    <a:pt x="0" y="25"/>
                    <a:pt x="0" y="21"/>
                    <a:pt x="0" y="16"/>
                  </a:cubicBezTo>
                  <a:cubicBezTo>
                    <a:pt x="0" y="5"/>
                    <a:pt x="4" y="0"/>
                    <a:pt x="12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8" y="28"/>
                    <a:pt x="12" y="28"/>
                  </a:cubicBezTo>
                  <a:cubicBezTo>
                    <a:pt x="16" y="28"/>
                    <a:pt x="17" y="24"/>
                    <a:pt x="17" y="17"/>
                  </a:cubicBezTo>
                  <a:cubicBezTo>
                    <a:pt x="17" y="9"/>
                    <a:pt x="16" y="6"/>
                    <a:pt x="12" y="6"/>
                  </a:cubicBezTo>
                  <a:cubicBezTo>
                    <a:pt x="8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24" name="Freeform 892">
              <a:extLst>
                <a:ext uri="{FF2B5EF4-FFF2-40B4-BE49-F238E27FC236}">
                  <a16:creationId xmlns:a16="http://schemas.microsoft.com/office/drawing/2014/main" id="{9AE08549-8ED2-CED9-D8C7-3EB392580584}"/>
                </a:ext>
              </a:extLst>
            </p:cNvPr>
            <p:cNvSpPr>
              <a:spLocks/>
            </p:cNvSpPr>
            <p:nvPr/>
          </p:nvSpPr>
          <p:spPr bwMode="gray">
            <a:xfrm>
              <a:off x="9719038" y="6140739"/>
              <a:ext cx="34668" cy="61077"/>
            </a:xfrm>
            <a:custGeom>
              <a:avLst/>
              <a:gdLst>
                <a:gd name="T0" fmla="*/ 15 w 34"/>
                <a:gd name="T1" fmla="*/ 12 h 55"/>
                <a:gd name="T2" fmla="*/ 5 w 34"/>
                <a:gd name="T3" fmla="*/ 18 h 55"/>
                <a:gd name="T4" fmla="*/ 0 w 34"/>
                <a:gd name="T5" fmla="*/ 10 h 55"/>
                <a:gd name="T6" fmla="*/ 17 w 34"/>
                <a:gd name="T7" fmla="*/ 0 h 55"/>
                <a:gd name="T8" fmla="*/ 27 w 34"/>
                <a:gd name="T9" fmla="*/ 0 h 55"/>
                <a:gd name="T10" fmla="*/ 27 w 34"/>
                <a:gd name="T11" fmla="*/ 44 h 55"/>
                <a:gd name="T12" fmla="*/ 34 w 34"/>
                <a:gd name="T13" fmla="*/ 46 h 55"/>
                <a:gd name="T14" fmla="*/ 34 w 34"/>
                <a:gd name="T15" fmla="*/ 55 h 55"/>
                <a:gd name="T16" fmla="*/ 8 w 34"/>
                <a:gd name="T17" fmla="*/ 55 h 55"/>
                <a:gd name="T18" fmla="*/ 8 w 34"/>
                <a:gd name="T19" fmla="*/ 46 h 55"/>
                <a:gd name="T20" fmla="*/ 15 w 34"/>
                <a:gd name="T21" fmla="*/ 44 h 55"/>
                <a:gd name="T22" fmla="*/ 15 w 34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55">
                  <a:moveTo>
                    <a:pt x="15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7" y="0"/>
                  </a:lnTo>
                  <a:lnTo>
                    <a:pt x="27" y="44"/>
                  </a:lnTo>
                  <a:lnTo>
                    <a:pt x="34" y="46"/>
                  </a:lnTo>
                  <a:lnTo>
                    <a:pt x="34" y="55"/>
                  </a:lnTo>
                  <a:lnTo>
                    <a:pt x="8" y="55"/>
                  </a:lnTo>
                  <a:lnTo>
                    <a:pt x="8" y="46"/>
                  </a:lnTo>
                  <a:lnTo>
                    <a:pt x="15" y="44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25" name="Freeform 893">
              <a:extLst>
                <a:ext uri="{FF2B5EF4-FFF2-40B4-BE49-F238E27FC236}">
                  <a16:creationId xmlns:a16="http://schemas.microsoft.com/office/drawing/2014/main" id="{96FAE248-C310-D7D8-C1FA-FAEDE30754EE}"/>
                </a:ext>
              </a:extLst>
            </p:cNvPr>
            <p:cNvSpPr>
              <a:spLocks/>
            </p:cNvSpPr>
            <p:nvPr/>
          </p:nvSpPr>
          <p:spPr bwMode="gray">
            <a:xfrm>
              <a:off x="9816921" y="6140739"/>
              <a:ext cx="36705" cy="61077"/>
            </a:xfrm>
            <a:custGeom>
              <a:avLst/>
              <a:gdLst>
                <a:gd name="T0" fmla="*/ 15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7 w 36"/>
                <a:gd name="T9" fmla="*/ 0 h 55"/>
                <a:gd name="T10" fmla="*/ 27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8 w 36"/>
                <a:gd name="T17" fmla="*/ 55 h 55"/>
                <a:gd name="T18" fmla="*/ 8 w 36"/>
                <a:gd name="T19" fmla="*/ 46 h 55"/>
                <a:gd name="T20" fmla="*/ 15 w 36"/>
                <a:gd name="T21" fmla="*/ 44 h 55"/>
                <a:gd name="T22" fmla="*/ 15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5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7" y="0"/>
                  </a:lnTo>
                  <a:lnTo>
                    <a:pt x="27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8" y="55"/>
                  </a:lnTo>
                  <a:lnTo>
                    <a:pt x="8" y="46"/>
                  </a:lnTo>
                  <a:lnTo>
                    <a:pt x="15" y="44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26" name="Freeform 894">
              <a:extLst>
                <a:ext uri="{FF2B5EF4-FFF2-40B4-BE49-F238E27FC236}">
                  <a16:creationId xmlns:a16="http://schemas.microsoft.com/office/drawing/2014/main" id="{8DEE4C87-4C34-5FAE-8596-1E24B4D668C5}"/>
                </a:ext>
              </a:extLst>
            </p:cNvPr>
            <p:cNvSpPr>
              <a:spLocks/>
            </p:cNvSpPr>
            <p:nvPr/>
          </p:nvSpPr>
          <p:spPr bwMode="gray">
            <a:xfrm>
              <a:off x="9914804" y="6140739"/>
              <a:ext cx="36705" cy="61077"/>
            </a:xfrm>
            <a:custGeom>
              <a:avLst/>
              <a:gdLst>
                <a:gd name="T0" fmla="*/ 15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7 w 36"/>
                <a:gd name="T9" fmla="*/ 0 h 55"/>
                <a:gd name="T10" fmla="*/ 27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9 w 36"/>
                <a:gd name="T17" fmla="*/ 55 h 55"/>
                <a:gd name="T18" fmla="*/ 9 w 36"/>
                <a:gd name="T19" fmla="*/ 46 h 55"/>
                <a:gd name="T20" fmla="*/ 15 w 36"/>
                <a:gd name="T21" fmla="*/ 44 h 55"/>
                <a:gd name="T22" fmla="*/ 15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5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7" y="0"/>
                  </a:lnTo>
                  <a:lnTo>
                    <a:pt x="27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5" y="44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27" name="Freeform 895">
              <a:extLst>
                <a:ext uri="{FF2B5EF4-FFF2-40B4-BE49-F238E27FC236}">
                  <a16:creationId xmlns:a16="http://schemas.microsoft.com/office/drawing/2014/main" id="{FA519A60-B81D-573D-1B7F-CDBFA7682B1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010647" y="6138518"/>
              <a:ext cx="43843" cy="6329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28" name="Freeform 896">
              <a:extLst>
                <a:ext uri="{FF2B5EF4-FFF2-40B4-BE49-F238E27FC236}">
                  <a16:creationId xmlns:a16="http://schemas.microsoft.com/office/drawing/2014/main" id="{90329476-B5EA-3E1F-49E3-A88A50F3A975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10570" y="6140739"/>
              <a:ext cx="36705" cy="61077"/>
            </a:xfrm>
            <a:custGeom>
              <a:avLst/>
              <a:gdLst>
                <a:gd name="T0" fmla="*/ 17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9 w 36"/>
                <a:gd name="T9" fmla="*/ 0 h 55"/>
                <a:gd name="T10" fmla="*/ 29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11 w 36"/>
                <a:gd name="T17" fmla="*/ 55 h 55"/>
                <a:gd name="T18" fmla="*/ 11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9" y="0"/>
                  </a:lnTo>
                  <a:lnTo>
                    <a:pt x="29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11" y="55"/>
                  </a:lnTo>
                  <a:lnTo>
                    <a:pt x="11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29" name="Freeform 897">
              <a:extLst>
                <a:ext uri="{FF2B5EF4-FFF2-40B4-BE49-F238E27FC236}">
                  <a16:creationId xmlns:a16="http://schemas.microsoft.com/office/drawing/2014/main" id="{F3E2CB8E-8F50-DA8D-9AFB-39D371979B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07432" y="6138518"/>
              <a:ext cx="43843" cy="6329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3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8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8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5" y="8"/>
                    <a:pt x="25" y="12"/>
                    <a:pt x="25" y="17"/>
                  </a:cubicBezTo>
                  <a:cubicBezTo>
                    <a:pt x="25" y="22"/>
                    <a:pt x="25" y="26"/>
                    <a:pt x="23" y="29"/>
                  </a:cubicBezTo>
                  <a:cubicBezTo>
                    <a:pt x="21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5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8" y="16"/>
                  </a:moveTo>
                  <a:cubicBezTo>
                    <a:pt x="8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8" y="9"/>
                    <a:pt x="8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35" name="Freeform 896">
              <a:extLst>
                <a:ext uri="{FF2B5EF4-FFF2-40B4-BE49-F238E27FC236}">
                  <a16:creationId xmlns:a16="http://schemas.microsoft.com/office/drawing/2014/main" id="{E6759953-119E-E473-0228-68C4D9D36E3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295040" y="6136320"/>
              <a:ext cx="36705" cy="61077"/>
            </a:xfrm>
            <a:custGeom>
              <a:avLst/>
              <a:gdLst>
                <a:gd name="T0" fmla="*/ 17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9 w 36"/>
                <a:gd name="T9" fmla="*/ 0 h 55"/>
                <a:gd name="T10" fmla="*/ 29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11 w 36"/>
                <a:gd name="T17" fmla="*/ 55 h 55"/>
                <a:gd name="T18" fmla="*/ 11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9" y="0"/>
                  </a:lnTo>
                  <a:lnTo>
                    <a:pt x="29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11" y="55"/>
                  </a:lnTo>
                  <a:lnTo>
                    <a:pt x="11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36" name="Freeform 897">
              <a:extLst>
                <a:ext uri="{FF2B5EF4-FFF2-40B4-BE49-F238E27FC236}">
                  <a16:creationId xmlns:a16="http://schemas.microsoft.com/office/drawing/2014/main" id="{3DB0E967-DE34-16D8-2A77-D6B6A8834E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391902" y="6134099"/>
              <a:ext cx="43843" cy="6329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3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8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8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5" y="8"/>
                    <a:pt x="25" y="12"/>
                    <a:pt x="25" y="17"/>
                  </a:cubicBezTo>
                  <a:cubicBezTo>
                    <a:pt x="25" y="22"/>
                    <a:pt x="25" y="26"/>
                    <a:pt x="23" y="29"/>
                  </a:cubicBezTo>
                  <a:cubicBezTo>
                    <a:pt x="21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5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8" y="16"/>
                  </a:moveTo>
                  <a:cubicBezTo>
                    <a:pt x="8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8" y="9"/>
                    <a:pt x="8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37" name="Freeform 886">
              <a:extLst>
                <a:ext uri="{FF2B5EF4-FFF2-40B4-BE49-F238E27FC236}">
                  <a16:creationId xmlns:a16="http://schemas.microsoft.com/office/drawing/2014/main" id="{360EC088-D8E8-83A9-0DEA-911E4109404E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4460" y="6133136"/>
              <a:ext cx="34668" cy="61077"/>
            </a:xfrm>
            <a:custGeom>
              <a:avLst/>
              <a:gdLst>
                <a:gd name="T0" fmla="*/ 15 w 34"/>
                <a:gd name="T1" fmla="*/ 12 h 55"/>
                <a:gd name="T2" fmla="*/ 5 w 34"/>
                <a:gd name="T3" fmla="*/ 18 h 55"/>
                <a:gd name="T4" fmla="*/ 0 w 34"/>
                <a:gd name="T5" fmla="*/ 10 h 55"/>
                <a:gd name="T6" fmla="*/ 17 w 34"/>
                <a:gd name="T7" fmla="*/ 0 h 55"/>
                <a:gd name="T8" fmla="*/ 27 w 34"/>
                <a:gd name="T9" fmla="*/ 0 h 55"/>
                <a:gd name="T10" fmla="*/ 27 w 34"/>
                <a:gd name="T11" fmla="*/ 44 h 55"/>
                <a:gd name="T12" fmla="*/ 34 w 34"/>
                <a:gd name="T13" fmla="*/ 46 h 55"/>
                <a:gd name="T14" fmla="*/ 34 w 34"/>
                <a:gd name="T15" fmla="*/ 55 h 55"/>
                <a:gd name="T16" fmla="*/ 9 w 34"/>
                <a:gd name="T17" fmla="*/ 55 h 55"/>
                <a:gd name="T18" fmla="*/ 9 w 34"/>
                <a:gd name="T19" fmla="*/ 46 h 55"/>
                <a:gd name="T20" fmla="*/ 15 w 34"/>
                <a:gd name="T21" fmla="*/ 44 h 55"/>
                <a:gd name="T22" fmla="*/ 15 w 34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55">
                  <a:moveTo>
                    <a:pt x="15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7" y="0"/>
                  </a:lnTo>
                  <a:lnTo>
                    <a:pt x="27" y="44"/>
                  </a:lnTo>
                  <a:lnTo>
                    <a:pt x="34" y="46"/>
                  </a:lnTo>
                  <a:lnTo>
                    <a:pt x="34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5" y="44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38" name="Freeform 887">
              <a:extLst>
                <a:ext uri="{FF2B5EF4-FFF2-40B4-BE49-F238E27FC236}">
                  <a16:creationId xmlns:a16="http://schemas.microsoft.com/office/drawing/2014/main" id="{F4B05946-16BE-BB90-E2CA-0080DEA532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60302" y="6130915"/>
              <a:ext cx="43843" cy="6329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2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2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2 w 25"/>
                <a:gd name="T19" fmla="*/ 28 h 33"/>
                <a:gd name="T20" fmla="*/ 18 w 25"/>
                <a:gd name="T21" fmla="*/ 17 h 33"/>
                <a:gd name="T22" fmla="*/ 12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2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2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2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2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39" name="Freeform 888">
              <a:extLst>
                <a:ext uri="{FF2B5EF4-FFF2-40B4-BE49-F238E27FC236}">
                  <a16:creationId xmlns:a16="http://schemas.microsoft.com/office/drawing/2014/main" id="{E38C4160-3915-212D-4006-A0DAF5D794AB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0225" y="6133136"/>
              <a:ext cx="36705" cy="61077"/>
            </a:xfrm>
            <a:custGeom>
              <a:avLst/>
              <a:gdLst>
                <a:gd name="T0" fmla="*/ 17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30 w 36"/>
                <a:gd name="T9" fmla="*/ 0 h 55"/>
                <a:gd name="T10" fmla="*/ 30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9 w 36"/>
                <a:gd name="T17" fmla="*/ 55 h 55"/>
                <a:gd name="T18" fmla="*/ 9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30" y="0"/>
                  </a:lnTo>
                  <a:lnTo>
                    <a:pt x="30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40" name="Freeform 889">
              <a:extLst>
                <a:ext uri="{FF2B5EF4-FFF2-40B4-BE49-F238E27FC236}">
                  <a16:creationId xmlns:a16="http://schemas.microsoft.com/office/drawing/2014/main" id="{054A7ED0-4098-344F-644C-5C15D6249F1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257087" y="6130915"/>
              <a:ext cx="43843" cy="6329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5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41" name="Freeform 890">
              <a:extLst>
                <a:ext uri="{FF2B5EF4-FFF2-40B4-BE49-F238E27FC236}">
                  <a16:creationId xmlns:a16="http://schemas.microsoft.com/office/drawing/2014/main" id="{C54EEEE5-E4F7-9D7C-7986-F29B4CADDA7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57010" y="6133136"/>
              <a:ext cx="36705" cy="61077"/>
            </a:xfrm>
            <a:custGeom>
              <a:avLst/>
              <a:gdLst>
                <a:gd name="T0" fmla="*/ 17 w 36"/>
                <a:gd name="T1" fmla="*/ 12 h 55"/>
                <a:gd name="T2" fmla="*/ 7 w 36"/>
                <a:gd name="T3" fmla="*/ 18 h 55"/>
                <a:gd name="T4" fmla="*/ 0 w 36"/>
                <a:gd name="T5" fmla="*/ 10 h 55"/>
                <a:gd name="T6" fmla="*/ 19 w 36"/>
                <a:gd name="T7" fmla="*/ 0 h 55"/>
                <a:gd name="T8" fmla="*/ 29 w 36"/>
                <a:gd name="T9" fmla="*/ 0 h 55"/>
                <a:gd name="T10" fmla="*/ 29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10 w 36"/>
                <a:gd name="T17" fmla="*/ 55 h 55"/>
                <a:gd name="T18" fmla="*/ 10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7" y="18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9" y="0"/>
                  </a:lnTo>
                  <a:lnTo>
                    <a:pt x="29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10" y="55"/>
                  </a:lnTo>
                  <a:lnTo>
                    <a:pt x="10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42" name="Freeform 891">
              <a:extLst>
                <a:ext uri="{FF2B5EF4-FFF2-40B4-BE49-F238E27FC236}">
                  <a16:creationId xmlns:a16="http://schemas.microsoft.com/office/drawing/2014/main" id="{019FA492-B540-6FCB-2E06-06E6B84A740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54892" y="6130915"/>
              <a:ext cx="43843" cy="6329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2 w 25"/>
                <a:gd name="T7" fmla="*/ 33 h 33"/>
                <a:gd name="T8" fmla="*/ 1 w 25"/>
                <a:gd name="T9" fmla="*/ 27 h 33"/>
                <a:gd name="T10" fmla="*/ 0 w 25"/>
                <a:gd name="T11" fmla="*/ 16 h 33"/>
                <a:gd name="T12" fmla="*/ 12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2 w 25"/>
                <a:gd name="T19" fmla="*/ 28 h 33"/>
                <a:gd name="T20" fmla="*/ 17 w 25"/>
                <a:gd name="T21" fmla="*/ 17 h 33"/>
                <a:gd name="T22" fmla="*/ 12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6" y="33"/>
                    <a:pt x="12" y="33"/>
                  </a:cubicBezTo>
                  <a:cubicBezTo>
                    <a:pt x="7" y="33"/>
                    <a:pt x="3" y="31"/>
                    <a:pt x="1" y="27"/>
                  </a:cubicBezTo>
                  <a:cubicBezTo>
                    <a:pt x="0" y="25"/>
                    <a:pt x="0" y="21"/>
                    <a:pt x="0" y="16"/>
                  </a:cubicBezTo>
                  <a:cubicBezTo>
                    <a:pt x="0" y="5"/>
                    <a:pt x="4" y="0"/>
                    <a:pt x="12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8" y="28"/>
                    <a:pt x="12" y="28"/>
                  </a:cubicBezTo>
                  <a:cubicBezTo>
                    <a:pt x="16" y="28"/>
                    <a:pt x="17" y="24"/>
                    <a:pt x="17" y="17"/>
                  </a:cubicBezTo>
                  <a:cubicBezTo>
                    <a:pt x="17" y="9"/>
                    <a:pt x="16" y="6"/>
                    <a:pt x="12" y="6"/>
                  </a:cubicBezTo>
                  <a:cubicBezTo>
                    <a:pt x="8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43" name="Freeform 892">
              <a:extLst>
                <a:ext uri="{FF2B5EF4-FFF2-40B4-BE49-F238E27FC236}">
                  <a16:creationId xmlns:a16="http://schemas.microsoft.com/office/drawing/2014/main" id="{01F3720D-B2DB-0B79-433E-761C538850E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815" y="6133136"/>
              <a:ext cx="34668" cy="61077"/>
            </a:xfrm>
            <a:custGeom>
              <a:avLst/>
              <a:gdLst>
                <a:gd name="T0" fmla="*/ 15 w 34"/>
                <a:gd name="T1" fmla="*/ 12 h 55"/>
                <a:gd name="T2" fmla="*/ 5 w 34"/>
                <a:gd name="T3" fmla="*/ 18 h 55"/>
                <a:gd name="T4" fmla="*/ 0 w 34"/>
                <a:gd name="T5" fmla="*/ 10 h 55"/>
                <a:gd name="T6" fmla="*/ 17 w 34"/>
                <a:gd name="T7" fmla="*/ 0 h 55"/>
                <a:gd name="T8" fmla="*/ 27 w 34"/>
                <a:gd name="T9" fmla="*/ 0 h 55"/>
                <a:gd name="T10" fmla="*/ 27 w 34"/>
                <a:gd name="T11" fmla="*/ 44 h 55"/>
                <a:gd name="T12" fmla="*/ 34 w 34"/>
                <a:gd name="T13" fmla="*/ 46 h 55"/>
                <a:gd name="T14" fmla="*/ 34 w 34"/>
                <a:gd name="T15" fmla="*/ 55 h 55"/>
                <a:gd name="T16" fmla="*/ 8 w 34"/>
                <a:gd name="T17" fmla="*/ 55 h 55"/>
                <a:gd name="T18" fmla="*/ 8 w 34"/>
                <a:gd name="T19" fmla="*/ 46 h 55"/>
                <a:gd name="T20" fmla="*/ 15 w 34"/>
                <a:gd name="T21" fmla="*/ 44 h 55"/>
                <a:gd name="T22" fmla="*/ 15 w 34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55">
                  <a:moveTo>
                    <a:pt x="15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7" y="0"/>
                  </a:lnTo>
                  <a:lnTo>
                    <a:pt x="27" y="44"/>
                  </a:lnTo>
                  <a:lnTo>
                    <a:pt x="34" y="46"/>
                  </a:lnTo>
                  <a:lnTo>
                    <a:pt x="34" y="55"/>
                  </a:lnTo>
                  <a:lnTo>
                    <a:pt x="8" y="55"/>
                  </a:lnTo>
                  <a:lnTo>
                    <a:pt x="8" y="46"/>
                  </a:lnTo>
                  <a:lnTo>
                    <a:pt x="15" y="44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44" name="Freeform 893">
              <a:extLst>
                <a:ext uri="{FF2B5EF4-FFF2-40B4-BE49-F238E27FC236}">
                  <a16:creationId xmlns:a16="http://schemas.microsoft.com/office/drawing/2014/main" id="{C075B5AE-CCEB-8AEF-49BE-F24E7FDB0F3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2698" y="6133136"/>
              <a:ext cx="36705" cy="61077"/>
            </a:xfrm>
            <a:custGeom>
              <a:avLst/>
              <a:gdLst>
                <a:gd name="T0" fmla="*/ 15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7 w 36"/>
                <a:gd name="T9" fmla="*/ 0 h 55"/>
                <a:gd name="T10" fmla="*/ 27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8 w 36"/>
                <a:gd name="T17" fmla="*/ 55 h 55"/>
                <a:gd name="T18" fmla="*/ 8 w 36"/>
                <a:gd name="T19" fmla="*/ 46 h 55"/>
                <a:gd name="T20" fmla="*/ 15 w 36"/>
                <a:gd name="T21" fmla="*/ 44 h 55"/>
                <a:gd name="T22" fmla="*/ 15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5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7" y="0"/>
                  </a:lnTo>
                  <a:lnTo>
                    <a:pt x="27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8" y="55"/>
                  </a:lnTo>
                  <a:lnTo>
                    <a:pt x="8" y="46"/>
                  </a:lnTo>
                  <a:lnTo>
                    <a:pt x="15" y="44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45" name="Freeform 894">
              <a:extLst>
                <a:ext uri="{FF2B5EF4-FFF2-40B4-BE49-F238E27FC236}">
                  <a16:creationId xmlns:a16="http://schemas.microsoft.com/office/drawing/2014/main" id="{B01130F4-5BC6-F416-F636-260F0C6C9D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0581" y="6133136"/>
              <a:ext cx="36705" cy="61077"/>
            </a:xfrm>
            <a:custGeom>
              <a:avLst/>
              <a:gdLst>
                <a:gd name="T0" fmla="*/ 15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7 w 36"/>
                <a:gd name="T9" fmla="*/ 0 h 55"/>
                <a:gd name="T10" fmla="*/ 27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9 w 36"/>
                <a:gd name="T17" fmla="*/ 55 h 55"/>
                <a:gd name="T18" fmla="*/ 9 w 36"/>
                <a:gd name="T19" fmla="*/ 46 h 55"/>
                <a:gd name="T20" fmla="*/ 15 w 36"/>
                <a:gd name="T21" fmla="*/ 44 h 55"/>
                <a:gd name="T22" fmla="*/ 15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5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7" y="0"/>
                  </a:lnTo>
                  <a:lnTo>
                    <a:pt x="27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5" y="44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46" name="Freeform 895">
              <a:extLst>
                <a:ext uri="{FF2B5EF4-FFF2-40B4-BE49-F238E27FC236}">
                  <a16:creationId xmlns:a16="http://schemas.microsoft.com/office/drawing/2014/main" id="{3A9C0CBE-9FB4-D94C-B7ED-16534DB882B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46424" y="6130915"/>
              <a:ext cx="43843" cy="6329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47" name="Freeform 896">
              <a:extLst>
                <a:ext uri="{FF2B5EF4-FFF2-40B4-BE49-F238E27FC236}">
                  <a16:creationId xmlns:a16="http://schemas.microsoft.com/office/drawing/2014/main" id="{0C85F8AB-6E2D-CD67-2C8B-5B4EBA0E7868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6347" y="6133136"/>
              <a:ext cx="36705" cy="61077"/>
            </a:xfrm>
            <a:custGeom>
              <a:avLst/>
              <a:gdLst>
                <a:gd name="T0" fmla="*/ 17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9 w 36"/>
                <a:gd name="T9" fmla="*/ 0 h 55"/>
                <a:gd name="T10" fmla="*/ 29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11 w 36"/>
                <a:gd name="T17" fmla="*/ 55 h 55"/>
                <a:gd name="T18" fmla="*/ 11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9" y="0"/>
                  </a:lnTo>
                  <a:lnTo>
                    <a:pt x="29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11" y="55"/>
                  </a:lnTo>
                  <a:lnTo>
                    <a:pt x="11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48" name="Freeform 897">
              <a:extLst>
                <a:ext uri="{FF2B5EF4-FFF2-40B4-BE49-F238E27FC236}">
                  <a16:creationId xmlns:a16="http://schemas.microsoft.com/office/drawing/2014/main" id="{ABA818F3-F479-1434-4DEB-78EAB48935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43209" y="6130915"/>
              <a:ext cx="43843" cy="6329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3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8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8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5" y="8"/>
                    <a:pt x="25" y="12"/>
                    <a:pt x="25" y="17"/>
                  </a:cubicBezTo>
                  <a:cubicBezTo>
                    <a:pt x="25" y="22"/>
                    <a:pt x="25" y="26"/>
                    <a:pt x="23" y="29"/>
                  </a:cubicBezTo>
                  <a:cubicBezTo>
                    <a:pt x="21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5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8" y="16"/>
                  </a:moveTo>
                  <a:cubicBezTo>
                    <a:pt x="8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8" y="9"/>
                    <a:pt x="8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49" name="Freeform 896">
              <a:extLst>
                <a:ext uri="{FF2B5EF4-FFF2-40B4-BE49-F238E27FC236}">
                  <a16:creationId xmlns:a16="http://schemas.microsoft.com/office/drawing/2014/main" id="{4DFB9E55-56D8-F881-8153-7CA96AC4FA5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0817" y="6128717"/>
              <a:ext cx="36705" cy="61077"/>
            </a:xfrm>
            <a:custGeom>
              <a:avLst/>
              <a:gdLst>
                <a:gd name="T0" fmla="*/ 17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9 w 36"/>
                <a:gd name="T9" fmla="*/ 0 h 55"/>
                <a:gd name="T10" fmla="*/ 29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11 w 36"/>
                <a:gd name="T17" fmla="*/ 55 h 55"/>
                <a:gd name="T18" fmla="*/ 11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9" y="0"/>
                  </a:lnTo>
                  <a:lnTo>
                    <a:pt x="29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11" y="55"/>
                  </a:lnTo>
                  <a:lnTo>
                    <a:pt x="11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50" name="Freeform 897">
              <a:extLst>
                <a:ext uri="{FF2B5EF4-FFF2-40B4-BE49-F238E27FC236}">
                  <a16:creationId xmlns:a16="http://schemas.microsoft.com/office/drawing/2014/main" id="{346F54DF-DD77-D090-1ED5-811135B567B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27679" y="6126496"/>
              <a:ext cx="43843" cy="6329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3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8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8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5" y="8"/>
                    <a:pt x="25" y="12"/>
                    <a:pt x="25" y="17"/>
                  </a:cubicBezTo>
                  <a:cubicBezTo>
                    <a:pt x="25" y="22"/>
                    <a:pt x="25" y="26"/>
                    <a:pt x="23" y="29"/>
                  </a:cubicBezTo>
                  <a:cubicBezTo>
                    <a:pt x="21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5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8" y="16"/>
                  </a:moveTo>
                  <a:cubicBezTo>
                    <a:pt x="8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8" y="9"/>
                    <a:pt x="8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10000"/>
                </a:lnSpc>
                <a:defRPr/>
              </a:pPr>
              <a:endParaRPr lang="pt-PT" sz="1400" kern="140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</p:grpSp>
      <p:pic>
        <p:nvPicPr>
          <p:cNvPr id="7" name="Picture 6" descr="A pair of hands holding a green and white electronic components&#10;&#10;Description automatically generated">
            <a:extLst>
              <a:ext uri="{FF2B5EF4-FFF2-40B4-BE49-F238E27FC236}">
                <a16:creationId xmlns:a16="http://schemas.microsoft.com/office/drawing/2014/main" id="{22576F14-D9A9-C333-99A5-BC12DF1EEAE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2583" y="2442029"/>
            <a:ext cx="4370776" cy="3278082"/>
          </a:xfrm>
          <a:prstGeom prst="rect">
            <a:avLst/>
          </a:prstGeom>
        </p:spPr>
      </p:pic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C313BCA6-1C3B-48D7-4313-E025765FC82C}"/>
              </a:ext>
            </a:extLst>
          </p:cNvPr>
          <p:cNvSpPr txBox="1">
            <a:spLocks/>
          </p:cNvSpPr>
          <p:nvPr/>
        </p:nvSpPr>
        <p:spPr>
          <a:xfrm>
            <a:off x="159174" y="2193047"/>
            <a:ext cx="3472391" cy="3935037"/>
          </a:xfrm>
          <a:prstGeom prst="rect">
            <a:avLst/>
          </a:prstGeom>
          <a:noFill/>
        </p:spPr>
        <p:txBody>
          <a:bodyPr vert="horz" lIns="180000" tIns="360000" rIns="180000" bIns="3600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sz="16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Abordagem:</a:t>
            </a:r>
          </a:p>
          <a:p>
            <a:endParaRPr lang="pt-PT" sz="1600" b="1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  <a:p>
            <a:pPr lvl="1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Criação de equipa em PT para redesenho e produção de cartas descontinuadas;</a:t>
            </a:r>
          </a:p>
          <a:p>
            <a:pPr lvl="1">
              <a:buClrTx/>
              <a:buFont typeface="Wingdings" panose="05000000000000000000" pitchFamily="2" charset="2"/>
              <a:buChar char="§"/>
            </a:pPr>
            <a:endParaRPr lang="pt-PT" sz="1400" dirty="0"/>
          </a:p>
          <a:p>
            <a:pPr lvl="1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Solução válida para operadores em Portugal e a nível global.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57A2369B-984F-C782-7B74-1BF91DF44CDE}"/>
              </a:ext>
            </a:extLst>
          </p:cNvPr>
          <p:cNvSpPr txBox="1">
            <a:spLocks/>
          </p:cNvSpPr>
          <p:nvPr/>
        </p:nvSpPr>
        <p:spPr>
          <a:xfrm>
            <a:off x="8283609" y="2193047"/>
            <a:ext cx="3661099" cy="3935037"/>
          </a:xfrm>
          <a:prstGeom prst="rect">
            <a:avLst/>
          </a:prstGeom>
          <a:noFill/>
        </p:spPr>
        <p:txBody>
          <a:bodyPr vert="horz" lIns="180000" tIns="360000" rIns="180000" bIns="3600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ClrTx/>
              <a:buNone/>
            </a:pPr>
            <a:r>
              <a:rPr lang="pt-PT" sz="1600" b="1" dirty="0">
                <a:solidFill>
                  <a:srgbClr val="A6CA56"/>
                </a:solidFill>
              </a:rPr>
              <a:t>Benefícios:</a:t>
            </a:r>
          </a:p>
          <a:p>
            <a:endParaRPr lang="pt-PT" sz="1600" b="1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  <a:p>
            <a:pPr lvl="1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Rápido ciclo de desenvolvimento </a:t>
            </a:r>
            <a:br>
              <a:rPr lang="pt-PT" sz="1400" dirty="0"/>
            </a:br>
            <a:r>
              <a:rPr lang="pt-PT" sz="1400" dirty="0"/>
              <a:t>(3 – 9 meses);</a:t>
            </a:r>
          </a:p>
          <a:p>
            <a:pPr lvl="1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Rápido ciclo de produção (3 meses)</a:t>
            </a:r>
          </a:p>
          <a:p>
            <a:pPr lvl="1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Preço competitivo para extensão de vida de 10-15 anos;</a:t>
            </a:r>
          </a:p>
          <a:p>
            <a:pPr lvl="1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100% compatível com restante sistema instalado;</a:t>
            </a:r>
          </a:p>
          <a:p>
            <a:pPr lvl="1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Solução certificada pelo fabricante;</a:t>
            </a:r>
          </a:p>
          <a:p>
            <a:pPr lvl="1">
              <a:buClrTx/>
              <a:buFont typeface="Wingdings" panose="05000000000000000000" pitchFamily="2" charset="2"/>
              <a:buChar char="§"/>
            </a:pPr>
            <a:r>
              <a:rPr lang="pt-PT" sz="1400" dirty="0"/>
              <a:t>100% de acordo com normas ferroviárias.</a:t>
            </a:r>
          </a:p>
          <a:p>
            <a:pPr lvl="1">
              <a:buClrTx/>
              <a:buFont typeface="Wingdings" panose="05000000000000000000" pitchFamily="2" charset="2"/>
              <a:buChar char="§"/>
            </a:pPr>
            <a:endParaRPr lang="pt-PT" sz="1400" dirty="0"/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533AEEDD-C3E6-AFCF-1D91-101CCAD0018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 sz="900" dirty="0"/>
              <a:t>Unrestricted | © Siemens 2024 | Customer Services | Abril 2024</a:t>
            </a:r>
          </a:p>
        </p:txBody>
      </p:sp>
    </p:spTree>
    <p:extLst>
      <p:ext uri="{BB962C8B-B14F-4D97-AF65-F5344CB8AC3E}">
        <p14:creationId xmlns:p14="http://schemas.microsoft.com/office/powerpoint/2010/main" val="23634731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8350EA-39F8-93EA-7870-0082401F22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4C1DDDF-A096-CB6F-22A1-DBEAA1618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SIBAS 16 | Competências Locais</a:t>
            </a:r>
            <a:br>
              <a:rPr lang="pt-PT" dirty="0"/>
            </a:br>
            <a:endParaRPr lang="pt-PT" b="0" dirty="0"/>
          </a:p>
        </p:txBody>
      </p:sp>
      <p:sp>
        <p:nvSpPr>
          <p:cNvPr id="4" name="Marcador de Posição do Número do Diapositivo 3">
            <a:extLst>
              <a:ext uri="{FF2B5EF4-FFF2-40B4-BE49-F238E27FC236}">
                <a16:creationId xmlns:a16="http://schemas.microsoft.com/office/drawing/2014/main" id="{42B83DD3-FDC0-0C86-CDCA-B614D392E6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97F70005-28EF-BFA0-E6CD-6D84E7A8B875}"/>
              </a:ext>
            </a:extLst>
          </p:cNvPr>
          <p:cNvSpPr txBox="1">
            <a:spLocks/>
          </p:cNvSpPr>
          <p:nvPr/>
        </p:nvSpPr>
        <p:spPr>
          <a:xfrm>
            <a:off x="410400" y="766800"/>
            <a:ext cx="5486400" cy="4963682"/>
          </a:xfrm>
          <a:prstGeom prst="rect">
            <a:avLst/>
          </a:prstGeom>
          <a:noFill/>
        </p:spPr>
        <p:txBody>
          <a:bodyPr vert="horz" lIns="180000" tIns="360000" rIns="180000" bIns="3600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Projeto:</a:t>
            </a:r>
          </a:p>
          <a:p>
            <a:endParaRPr lang="pt-PT" sz="1600" b="1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  <a:p>
            <a:pPr marL="285750" indent="-285750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pt-PT" sz="1600" dirty="0"/>
              <a:t>Desenho de PCB com base na documentação de fabrico da última versão produzida;</a:t>
            </a:r>
          </a:p>
          <a:p>
            <a:pPr marL="285750" indent="-285750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pt-PT" sz="1600" dirty="0"/>
              <a:t>Projeto de FPGA de acordo com descrição de funcionamento original;</a:t>
            </a:r>
          </a:p>
          <a:p>
            <a:pPr marL="285750" indent="-285750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pt-PT" sz="1600" dirty="0"/>
              <a:t>Desenvolvimento de </a:t>
            </a:r>
            <a:r>
              <a:rPr lang="pt-PT" sz="1600" dirty="0" err="1"/>
              <a:t>Firmware</a:t>
            </a:r>
            <a:r>
              <a:rPr lang="pt-PT" sz="1600" dirty="0"/>
              <a:t>;</a:t>
            </a:r>
          </a:p>
          <a:p>
            <a:pPr marL="285750" indent="-285750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pt-PT" sz="1600" dirty="0" err="1"/>
              <a:t>BoM</a:t>
            </a:r>
            <a:r>
              <a:rPr lang="pt-PT" sz="1600" dirty="0"/>
              <a:t> automatizada – identificação em tempo real de componentes disponíveis no mercado</a:t>
            </a: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D910BA83-5323-4A6F-047C-7A2176EA23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 sz="900" dirty="0"/>
              <a:t>Unrestricted | © Siemens 2024 | Customer Services | Abril 2024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5FAB691-149E-2CDC-4EBB-8CA03C395EA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514090" y="531092"/>
            <a:ext cx="2347949" cy="385277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C9F4325-B09A-1C94-5124-2C76F2F64F3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1677" y="3870489"/>
            <a:ext cx="3852775" cy="209093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6D930E6-CF3F-06DB-7517-72655508B608}"/>
              </a:ext>
            </a:extLst>
          </p:cNvPr>
          <p:cNvSpPr/>
          <p:nvPr/>
        </p:nvSpPr>
        <p:spPr>
          <a:xfrm>
            <a:off x="410400" y="952106"/>
            <a:ext cx="11371200" cy="5139093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0436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97FE0-6CE6-490C-F544-948CF94138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58F69681-1B4F-9C9D-8145-F83A1272537D}"/>
              </a:ext>
            </a:extLst>
          </p:cNvPr>
          <p:cNvSpPr txBox="1">
            <a:spLocks/>
          </p:cNvSpPr>
          <p:nvPr/>
        </p:nvSpPr>
        <p:spPr>
          <a:xfrm>
            <a:off x="410400" y="766800"/>
            <a:ext cx="5486400" cy="4963682"/>
          </a:xfrm>
          <a:prstGeom prst="rect">
            <a:avLst/>
          </a:prstGeom>
          <a:noFill/>
        </p:spPr>
        <p:txBody>
          <a:bodyPr vert="horz" lIns="180000" tIns="360000" rIns="180000" bIns="3600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Ensaios funcionais:</a:t>
            </a:r>
          </a:p>
          <a:p>
            <a:endParaRPr lang="pt-PT" sz="1800" b="1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  <a:p>
            <a:pPr marL="285750" indent="-285750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pt-PT" sz="1600" dirty="0"/>
              <a:t>Sequências de ensaio automatizadas desenvolvidas localmente;</a:t>
            </a:r>
          </a:p>
          <a:p>
            <a:pPr marL="285750" indent="-285750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pt-PT" sz="1600" dirty="0"/>
              <a:t>Ensaios de acordo com descrição de funcionamento de documentação original de projeto;</a:t>
            </a:r>
          </a:p>
          <a:p>
            <a:pPr marL="285750" indent="-285750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pt-PT" sz="1600" dirty="0"/>
              <a:t>Ensaios isolados e integrados em </a:t>
            </a:r>
            <a:r>
              <a:rPr lang="pt-PT" sz="1600" dirty="0" err="1"/>
              <a:t>rack</a:t>
            </a:r>
            <a:r>
              <a:rPr lang="pt-PT" sz="1600" dirty="0"/>
              <a:t> SIBAS16;</a:t>
            </a:r>
          </a:p>
          <a:p>
            <a:pPr marL="285750" indent="-285750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pt-PT" sz="1600" dirty="0"/>
              <a:t>Desenvolvimento de equipamentos de ensaio.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F7B8FCEC-2F7E-F09C-1F82-824A3B509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SIBAS 16 | Competências Locais</a:t>
            </a:r>
            <a:br>
              <a:rPr lang="pt-PT" dirty="0"/>
            </a:br>
            <a:endParaRPr lang="pt-PT" b="0" dirty="0"/>
          </a:p>
        </p:txBody>
      </p:sp>
      <p:sp>
        <p:nvSpPr>
          <p:cNvPr id="4" name="Marcador de Posição do Número do Diapositivo 3">
            <a:extLst>
              <a:ext uri="{FF2B5EF4-FFF2-40B4-BE49-F238E27FC236}">
                <a16:creationId xmlns:a16="http://schemas.microsoft.com/office/drawing/2014/main" id="{E46DC0B0-C1B1-50B4-0123-DDA6495D85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843888B8-14FA-24AC-C957-27D8FD059F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 sz="900" dirty="0"/>
              <a:t>Unrestricted | © Siemens 2024 | Customer Services | Abril 202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62AB1AE-C493-5401-AF42-6C56CE4875D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9327" y="1198600"/>
            <a:ext cx="3955124" cy="205004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1838B9D-38FB-9D5E-F9FE-19D9BB464E8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59327" y="3386071"/>
            <a:ext cx="3955123" cy="241461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183D0EB-96E8-BCC3-5886-BF7BFF07F840}"/>
              </a:ext>
            </a:extLst>
          </p:cNvPr>
          <p:cNvSpPr/>
          <p:nvPr/>
        </p:nvSpPr>
        <p:spPr>
          <a:xfrm>
            <a:off x="410400" y="952106"/>
            <a:ext cx="11371200" cy="5066375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38280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426B35-9340-9D90-748E-91DE17486A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EDCCA69-541A-771A-2AD2-DAB2E2428015}"/>
              </a:ext>
            </a:extLst>
          </p:cNvPr>
          <p:cNvSpPr/>
          <p:nvPr/>
        </p:nvSpPr>
        <p:spPr>
          <a:xfrm>
            <a:off x="410400" y="952106"/>
            <a:ext cx="11371200" cy="5281545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F8C96E72-5CA1-C9E3-1090-CB2405245B82}"/>
              </a:ext>
            </a:extLst>
          </p:cNvPr>
          <p:cNvSpPr txBox="1">
            <a:spLocks/>
          </p:cNvSpPr>
          <p:nvPr/>
        </p:nvSpPr>
        <p:spPr>
          <a:xfrm>
            <a:off x="410400" y="766800"/>
            <a:ext cx="5486400" cy="4963682"/>
          </a:xfrm>
          <a:prstGeom prst="rect">
            <a:avLst/>
          </a:prstGeom>
          <a:noFill/>
        </p:spPr>
        <p:txBody>
          <a:bodyPr vert="horz" lIns="180000" tIns="360000" rIns="180000" bIns="3600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Ensaios tipo:</a:t>
            </a:r>
          </a:p>
          <a:p>
            <a:endParaRPr lang="pt-PT" sz="1600" b="1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  <a:p>
            <a:pPr marL="285750" indent="-285750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pt-PT" sz="1600" dirty="0"/>
              <a:t>Laboratório Certificado em Portugal;</a:t>
            </a:r>
          </a:p>
          <a:p>
            <a:pPr marL="285750" indent="-285750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pt-PT" sz="1600" dirty="0"/>
              <a:t>Ensaios de acordo com EN50155 ou por comparação com projeto original;</a:t>
            </a:r>
          </a:p>
          <a:p>
            <a:pPr marL="465750" lvl="1" indent="-285750">
              <a:spcAft>
                <a:spcPts val="2400"/>
              </a:spcAft>
              <a:buClrTx/>
              <a:buFont typeface="Wingdings" panose="05000000000000000000" pitchFamily="2" charset="2"/>
              <a:buChar char="§"/>
            </a:pPr>
            <a:r>
              <a:rPr lang="pt-PT" sz="1600" dirty="0"/>
              <a:t>Isolamento</a:t>
            </a:r>
          </a:p>
          <a:p>
            <a:pPr marL="465750" lvl="1" indent="-285750">
              <a:spcAft>
                <a:spcPts val="2400"/>
              </a:spcAft>
              <a:buClrTx/>
              <a:buFont typeface="Wingdings" panose="05000000000000000000" pitchFamily="2" charset="2"/>
              <a:buChar char="§"/>
            </a:pPr>
            <a:r>
              <a:rPr lang="pt-PT" sz="1600" dirty="0"/>
              <a:t>Temperatura </a:t>
            </a:r>
          </a:p>
          <a:p>
            <a:pPr marL="465750" lvl="1" indent="-285750">
              <a:spcAft>
                <a:spcPts val="2400"/>
              </a:spcAft>
              <a:buClrTx/>
              <a:buFont typeface="Wingdings" panose="05000000000000000000" pitchFamily="2" charset="2"/>
              <a:buChar char="§"/>
            </a:pPr>
            <a:r>
              <a:rPr lang="pt-PT" sz="1600" dirty="0"/>
              <a:t>Vibração</a:t>
            </a:r>
          </a:p>
          <a:p>
            <a:pPr marL="465750" lvl="1" indent="-285750">
              <a:spcAft>
                <a:spcPts val="2400"/>
              </a:spcAft>
              <a:buClrTx/>
              <a:buFont typeface="Wingdings" panose="05000000000000000000" pitchFamily="2" charset="2"/>
              <a:buChar char="§"/>
            </a:pPr>
            <a:r>
              <a:rPr lang="pt-PT" sz="1600" dirty="0"/>
              <a:t>EMC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3278E04-8F05-ED6D-8810-E293223BC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SIBAS 16 | Competências Locais</a:t>
            </a:r>
            <a:br>
              <a:rPr lang="pt-PT" dirty="0"/>
            </a:br>
            <a:endParaRPr lang="pt-PT" b="0" dirty="0"/>
          </a:p>
        </p:txBody>
      </p:sp>
      <p:sp>
        <p:nvSpPr>
          <p:cNvPr id="4" name="Marcador de Posição do Número do Diapositivo 3">
            <a:extLst>
              <a:ext uri="{FF2B5EF4-FFF2-40B4-BE49-F238E27FC236}">
                <a16:creationId xmlns:a16="http://schemas.microsoft.com/office/drawing/2014/main" id="{79B2A23C-C217-B0D2-C883-198AF339C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E9901FDC-4DBD-8248-CC53-721B36E2D2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 sz="900" dirty="0"/>
              <a:t>Unrestricted | © Siemens 2024 | Customer Services | Abril 2024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E50980A-0CEF-24D0-D66F-90687F5D1A3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2341" y="3836603"/>
            <a:ext cx="3028266" cy="2271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5862086-3D68-B8D6-01E9-2D1077DE6FA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3336" y="1209505"/>
            <a:ext cx="3027162" cy="227037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05947FF-1D23-771C-F698-431812CA859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3336" y="3837505"/>
            <a:ext cx="3027162" cy="2270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5755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CC&quot; g=&quot;CC&quot; b=&quot;D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sie-ppt-O365-16x9-standard-eng-v3-2" id="{3B15BB43-39E9-45A9-A1EB-2B9BB02DEB9D}" vid="{CAFB74A0-D152-446E-A937-E1710260F48D}"/>
    </a:ext>
  </a:extLst>
</a:theme>
</file>

<file path=ppt/theme/theme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dfb28a9-971f-444b-8c13-b0013b7e22de" xsi:nil="true"/>
    <lcf76f155ced4ddcb4097134ff3c332f xmlns="1f9b7adf-5a1e-4144-8717-b6bbe153e070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1B88E142E7F9249BDF2AB53DF5762B8" ma:contentTypeVersion="15" ma:contentTypeDescription="Create a new document." ma:contentTypeScope="" ma:versionID="d2df742bf0f8759ba05fea7a5576eed2">
  <xsd:schema xmlns:xsd="http://www.w3.org/2001/XMLSchema" xmlns:xs="http://www.w3.org/2001/XMLSchema" xmlns:p="http://schemas.microsoft.com/office/2006/metadata/properties" xmlns:ns2="1f9b7adf-5a1e-4144-8717-b6bbe153e070" xmlns:ns3="1dfb28a9-971f-444b-8c13-b0013b7e22de" targetNamespace="http://schemas.microsoft.com/office/2006/metadata/properties" ma:root="true" ma:fieldsID="8253ee92555981894e979812fb246eb9" ns2:_="" ns3:_="">
    <xsd:import namespace="1f9b7adf-5a1e-4144-8717-b6bbe153e070"/>
    <xsd:import namespace="1dfb28a9-971f-444b-8c13-b0013b7e22d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9b7adf-5a1e-4144-8717-b6bbe153e07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e63edab7-d5f1-4c02-989a-0e8ed7c6c38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fb28a9-971f-444b-8c13-b0013b7e22d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f31fe806-7147-43ff-aaea-118c87cffc75}" ma:internalName="TaxCatchAll" ma:showField="CatchAllData" ma:web="1dfb28a9-971f-444b-8c13-b0013b7e22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5284E77-1FF9-40BF-A096-5FDF55DF7FD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D32E5EF-A256-45CF-BBBD-BB41CAFD1ACF}">
  <ds:schemaRefs>
    <ds:schemaRef ds:uri="4782b05c-bc3f-417a-90e6-724d29ebdfb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1dfb28a9-971f-444b-8c13-b0013b7e22de"/>
    <ds:schemaRef ds:uri="1f9b7adf-5a1e-4144-8717-b6bbe153e070"/>
  </ds:schemaRefs>
</ds:datastoreItem>
</file>

<file path=customXml/itemProps3.xml><?xml version="1.0" encoding="utf-8"?>
<ds:datastoreItem xmlns:ds="http://schemas.openxmlformats.org/officeDocument/2006/customXml" ds:itemID="{996D2FBE-B923-457B-85C1-06EE1689B4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f9b7adf-5a1e-4144-8717-b6bbe153e070"/>
    <ds:schemaRef ds:uri="1dfb28a9-971f-444b-8c13-b0013b7e22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6f75f480-7803-4ee9-bb54-84d0635fdbe7}" enabled="1" method="Privileged" siteId="{38ae3bcd-9579-4fd4-adda-b42e1495d5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ie-ppt-O365-16x9-standard-eng-v3-2</Template>
  <TotalTime>1349</TotalTime>
  <Words>864</Words>
  <Application>Microsoft Office PowerPoint</Application>
  <PresentationFormat>Widescreen</PresentationFormat>
  <Paragraphs>206</Paragraphs>
  <Slides>1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Arial Unicode MS</vt:lpstr>
      <vt:lpstr>Wingdings</vt:lpstr>
      <vt:lpstr>Siemens 2020</vt:lpstr>
      <vt:lpstr>think-cell Folie</vt:lpstr>
      <vt:lpstr>Seminário Ferrovias Gestão de Obsolescência Siemens</vt:lpstr>
      <vt:lpstr>Portfolio Siemens Mobility – Customer Services</vt:lpstr>
      <vt:lpstr>Base Instalada de Material Circulante Pesado Siemens em Portugal</vt:lpstr>
      <vt:lpstr>SIBAS16</vt:lpstr>
      <vt:lpstr>SIBAS16 | Problema</vt:lpstr>
      <vt:lpstr>SIBAS 16 | Abordagem e Benefícios </vt:lpstr>
      <vt:lpstr>SIBAS 16 | Competências Locais </vt:lpstr>
      <vt:lpstr>SIBAS 16 | Competências Locais </vt:lpstr>
      <vt:lpstr>SIBAS 16 | Competências Locais </vt:lpstr>
      <vt:lpstr>SIBAS 16 | Oferta de valor</vt:lpstr>
      <vt:lpstr>Seminário Ferrovias Redesign Eletrónico Siemens</vt:lpstr>
      <vt:lpstr>Conta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asy obsolescence solutions Sales pres</dc:title>
  <dc:creator>Sophia Rybing | i-pointing</dc:creator>
  <cp:keywords>Template</cp:keywords>
  <dc:description>Version 3.2
December 2020</dc:description>
  <cp:lastModifiedBy>Tomazio, Sergio (SMO SWE RC-PT INNOV)</cp:lastModifiedBy>
  <cp:revision>4</cp:revision>
  <dcterms:created xsi:type="dcterms:W3CDTF">2021-02-15T09:44:01Z</dcterms:created>
  <dcterms:modified xsi:type="dcterms:W3CDTF">2024-04-10T12:4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59b6cd5-d141-4a33-8bf1-0ca04484304f_Enabled">
    <vt:lpwstr>true</vt:lpwstr>
  </property>
  <property fmtid="{D5CDD505-2E9C-101B-9397-08002B2CF9AE}" pid="3" name="MSIP_Label_a59b6cd5-d141-4a33-8bf1-0ca04484304f_SetDate">
    <vt:lpwstr>2021-05-17T16:50:21Z</vt:lpwstr>
  </property>
  <property fmtid="{D5CDD505-2E9C-101B-9397-08002B2CF9AE}" pid="4" name="MSIP_Label_a59b6cd5-d141-4a33-8bf1-0ca04484304f_Method">
    <vt:lpwstr>Standard</vt:lpwstr>
  </property>
  <property fmtid="{D5CDD505-2E9C-101B-9397-08002B2CF9AE}" pid="5" name="MSIP_Label_a59b6cd5-d141-4a33-8bf1-0ca04484304f_Name">
    <vt:lpwstr>restricted-default</vt:lpwstr>
  </property>
  <property fmtid="{D5CDD505-2E9C-101B-9397-08002B2CF9AE}" pid="6" name="MSIP_Label_a59b6cd5-d141-4a33-8bf1-0ca04484304f_SiteId">
    <vt:lpwstr>38ae3bcd-9579-4fd4-adda-b42e1495d55a</vt:lpwstr>
  </property>
  <property fmtid="{D5CDD505-2E9C-101B-9397-08002B2CF9AE}" pid="7" name="MSIP_Label_a59b6cd5-d141-4a33-8bf1-0ca04484304f_ActionId">
    <vt:lpwstr>c38d07d5-de7a-4af2-aa03-3604f119eafe</vt:lpwstr>
  </property>
  <property fmtid="{D5CDD505-2E9C-101B-9397-08002B2CF9AE}" pid="8" name="MSIP_Label_a59b6cd5-d141-4a33-8bf1-0ca04484304f_ContentBits">
    <vt:lpwstr>0</vt:lpwstr>
  </property>
  <property fmtid="{D5CDD505-2E9C-101B-9397-08002B2CF9AE}" pid="9" name="Document_Confidentiality">
    <vt:lpwstr>Restricted</vt:lpwstr>
  </property>
  <property fmtid="{D5CDD505-2E9C-101B-9397-08002B2CF9AE}" pid="10" name="ContentTypeId">
    <vt:lpwstr>0x01010021B88E142E7F9249BDF2AB53DF5762B8</vt:lpwstr>
  </property>
  <property fmtid="{D5CDD505-2E9C-101B-9397-08002B2CF9AE}" pid="11" name="MediaServiceImageTags">
    <vt:lpwstr/>
  </property>
</Properties>
</file>